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22"/>
  </p:notesMasterIdLst>
  <p:sldIdLst>
    <p:sldId id="256" r:id="rId5"/>
    <p:sldId id="301" r:id="rId6"/>
    <p:sldId id="299" r:id="rId7"/>
    <p:sldId id="293" r:id="rId8"/>
    <p:sldId id="305" r:id="rId9"/>
    <p:sldId id="309" r:id="rId10"/>
    <p:sldId id="304" r:id="rId11"/>
    <p:sldId id="303" r:id="rId12"/>
    <p:sldId id="308" r:id="rId13"/>
    <p:sldId id="283" r:id="rId14"/>
    <p:sldId id="294" r:id="rId15"/>
    <p:sldId id="307" r:id="rId16"/>
    <p:sldId id="273" r:id="rId17"/>
    <p:sldId id="275" r:id="rId18"/>
    <p:sldId id="282" r:id="rId19"/>
    <p:sldId id="271" r:id="rId20"/>
    <p:sldId id="258" r:id="rId21"/>
  </p:sldIdLst>
  <p:sldSz cx="12192000" cy="6858000"/>
  <p:notesSz cx="6858000" cy="9144000"/>
  <p:custDataLst>
    <p:tags r:id="rId2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llack, Scott C" initials="BSC" lastIdx="1" clrIdx="0">
    <p:extLst>
      <p:ext uri="{19B8F6BF-5375-455C-9EA6-DF929625EA0E}">
        <p15:presenceInfo xmlns:p15="http://schemas.microsoft.com/office/powerpoint/2012/main" userId="Bellack, Scott C"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CC"/>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00" autoAdjust="0"/>
    <p:restoredTop sz="44280" autoAdjust="0"/>
  </p:normalViewPr>
  <p:slideViewPr>
    <p:cSldViewPr snapToGrid="0" snapToObjects="1">
      <p:cViewPr varScale="1">
        <p:scale>
          <a:sx n="48" d="100"/>
          <a:sy n="48" d="100"/>
        </p:scale>
        <p:origin x="1186" y="53"/>
      </p:cViewPr>
      <p:guideLst>
        <p:guide orient="horz" pos="2160"/>
        <p:guide pos="384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s>
</file>

<file path=ppt/diagrams/_rels/data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image" Target="../media/image22.jpg"/><Relationship Id="rId4" Type="http://schemas.openxmlformats.org/officeDocument/2006/relationships/image" Target="../media/image25.png"/></Relationships>
</file>

<file path=ppt/diagrams/_rels/drawing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image" Target="../media/image22.jpg"/><Relationship Id="rId4" Type="http://schemas.openxmlformats.org/officeDocument/2006/relationships/image" Target="../media/image25.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3BC044D-91F2-4A30-B068-A9863D1A704B}"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F1F3B559-2EAF-4365-B347-4B161320BFAE}">
      <dgm:prSet phldrT="[Text]"/>
      <dgm:spPr/>
      <dgm:t>
        <a:bodyPr/>
        <a:lstStyle/>
        <a:p>
          <a:r>
            <a:rPr lang="en-US" dirty="0" smtClean="0"/>
            <a:t>Higher Ed Cases</a:t>
          </a:r>
          <a:endParaRPr lang="en-US" dirty="0"/>
        </a:p>
      </dgm:t>
    </dgm:pt>
    <dgm:pt modelId="{2EA37228-CDC9-4D47-BFD0-735E4885900E}" type="parTrans" cxnId="{35E396B3-9333-4970-BE08-FC581BB21D5E}">
      <dgm:prSet/>
      <dgm:spPr/>
      <dgm:t>
        <a:bodyPr/>
        <a:lstStyle/>
        <a:p>
          <a:endParaRPr lang="en-US"/>
        </a:p>
      </dgm:t>
    </dgm:pt>
    <dgm:pt modelId="{3DC303BE-7F28-43E4-9BF3-43AA677E20EB}" type="sibTrans" cxnId="{35E396B3-9333-4970-BE08-FC581BB21D5E}">
      <dgm:prSet/>
      <dgm:spPr/>
      <dgm:t>
        <a:bodyPr/>
        <a:lstStyle/>
        <a:p>
          <a:endParaRPr lang="en-US"/>
        </a:p>
      </dgm:t>
    </dgm:pt>
    <dgm:pt modelId="{8D1640D8-E92B-42B6-A55B-17EBEDE6B12C}">
      <dgm:prSet phldrT="[Text]"/>
      <dgm:spPr/>
      <dgm:t>
        <a:bodyPr/>
        <a:lstStyle/>
        <a:p>
          <a:r>
            <a:rPr lang="en-US" dirty="0" smtClean="0"/>
            <a:t>At Risk Groups &amp; Activities </a:t>
          </a:r>
          <a:endParaRPr lang="en-US" dirty="0"/>
        </a:p>
      </dgm:t>
    </dgm:pt>
    <dgm:pt modelId="{767E34AA-D24F-498C-B59E-6233CE353BE5}" type="parTrans" cxnId="{814F736B-8E11-401A-8D6C-CF134CC74F47}">
      <dgm:prSet/>
      <dgm:spPr/>
      <dgm:t>
        <a:bodyPr/>
        <a:lstStyle/>
        <a:p>
          <a:endParaRPr lang="en-US"/>
        </a:p>
      </dgm:t>
    </dgm:pt>
    <dgm:pt modelId="{172EF0A7-79ED-40FD-99E5-543633F398EB}" type="sibTrans" cxnId="{814F736B-8E11-401A-8D6C-CF134CC74F47}">
      <dgm:prSet/>
      <dgm:spPr/>
      <dgm:t>
        <a:bodyPr/>
        <a:lstStyle/>
        <a:p>
          <a:endParaRPr lang="en-US"/>
        </a:p>
      </dgm:t>
    </dgm:pt>
    <dgm:pt modelId="{B0B2BD98-22B9-4C17-BB9D-594921C09322}">
      <dgm:prSet phldrT="[Text]"/>
      <dgm:spPr/>
      <dgm:t>
        <a:bodyPr/>
        <a:lstStyle/>
        <a:p>
          <a:r>
            <a:rPr lang="en-US" dirty="0" smtClean="0"/>
            <a:t>Preparation</a:t>
          </a:r>
          <a:endParaRPr lang="en-US" dirty="0"/>
        </a:p>
      </dgm:t>
    </dgm:pt>
    <dgm:pt modelId="{D20E2EFF-BC83-4798-9211-68DEB2D34BCE}" type="parTrans" cxnId="{26009612-249D-45D0-A142-1528573C0295}">
      <dgm:prSet/>
      <dgm:spPr/>
      <dgm:t>
        <a:bodyPr/>
        <a:lstStyle/>
        <a:p>
          <a:endParaRPr lang="en-US"/>
        </a:p>
      </dgm:t>
    </dgm:pt>
    <dgm:pt modelId="{7428A367-2063-46BD-9F1D-2015ECAA9542}" type="sibTrans" cxnId="{26009612-249D-45D0-A142-1528573C0295}">
      <dgm:prSet/>
      <dgm:spPr/>
      <dgm:t>
        <a:bodyPr/>
        <a:lstStyle/>
        <a:p>
          <a:endParaRPr lang="en-US"/>
        </a:p>
      </dgm:t>
    </dgm:pt>
    <dgm:pt modelId="{6A2CE73B-AC83-4C7D-AF03-F91C56CB3932}">
      <dgm:prSet/>
      <dgm:spPr/>
      <dgm:t>
        <a:bodyPr/>
        <a:lstStyle/>
        <a:p>
          <a:r>
            <a:rPr lang="en-US" dirty="0" smtClean="0"/>
            <a:t>Next Steps</a:t>
          </a:r>
          <a:endParaRPr lang="en-US" dirty="0"/>
        </a:p>
      </dgm:t>
    </dgm:pt>
    <dgm:pt modelId="{4F902847-09FA-44A4-9372-9AC40A15AF42}" type="sibTrans" cxnId="{50C977BD-B6F1-450C-BB0C-D8C19CB45A3C}">
      <dgm:prSet/>
      <dgm:spPr/>
      <dgm:t>
        <a:bodyPr/>
        <a:lstStyle/>
        <a:p>
          <a:endParaRPr lang="en-US"/>
        </a:p>
      </dgm:t>
    </dgm:pt>
    <dgm:pt modelId="{41DCADC0-D547-4623-909C-E5E8C7695E53}" type="parTrans" cxnId="{50C977BD-B6F1-450C-BB0C-D8C19CB45A3C}">
      <dgm:prSet/>
      <dgm:spPr/>
      <dgm:t>
        <a:bodyPr/>
        <a:lstStyle/>
        <a:p>
          <a:endParaRPr lang="en-US"/>
        </a:p>
      </dgm:t>
    </dgm:pt>
    <dgm:pt modelId="{0D630A69-A7D1-4FB7-9877-D70E25FEBBDF}">
      <dgm:prSet/>
      <dgm:spPr/>
      <dgm:t>
        <a:bodyPr/>
        <a:lstStyle/>
        <a:p>
          <a:r>
            <a:rPr lang="en-US" dirty="0" smtClean="0"/>
            <a:t>Heat Basics</a:t>
          </a:r>
          <a:endParaRPr lang="en-US" dirty="0"/>
        </a:p>
      </dgm:t>
    </dgm:pt>
    <dgm:pt modelId="{9FFBCB03-3CA9-4DCD-8839-D3029DF2E8D3}" type="parTrans" cxnId="{AB19EDF9-3DB6-48A5-B52F-66A99F302A4F}">
      <dgm:prSet/>
      <dgm:spPr/>
    </dgm:pt>
    <dgm:pt modelId="{36D82B5F-A289-4557-916F-836644B9DFD8}" type="sibTrans" cxnId="{AB19EDF9-3DB6-48A5-B52F-66A99F302A4F}">
      <dgm:prSet/>
      <dgm:spPr/>
    </dgm:pt>
    <dgm:pt modelId="{0AE45C58-62CC-4EBE-822D-9984E1AB6C8F}" type="pres">
      <dgm:prSet presAssocID="{C3BC044D-91F2-4A30-B068-A9863D1A704B}" presName="linear" presStyleCnt="0">
        <dgm:presLayoutVars>
          <dgm:dir/>
          <dgm:animLvl val="lvl"/>
          <dgm:resizeHandles val="exact"/>
        </dgm:presLayoutVars>
      </dgm:prSet>
      <dgm:spPr/>
      <dgm:t>
        <a:bodyPr/>
        <a:lstStyle/>
        <a:p>
          <a:endParaRPr lang="en-US"/>
        </a:p>
      </dgm:t>
    </dgm:pt>
    <dgm:pt modelId="{E1962F02-1B3F-4CEA-A31F-CD624BC79259}" type="pres">
      <dgm:prSet presAssocID="{F1F3B559-2EAF-4365-B347-4B161320BFAE}" presName="parentLin" presStyleCnt="0"/>
      <dgm:spPr/>
    </dgm:pt>
    <dgm:pt modelId="{2DB95F5B-0A18-453D-81A7-F5B422D499DE}" type="pres">
      <dgm:prSet presAssocID="{F1F3B559-2EAF-4365-B347-4B161320BFAE}" presName="parentLeftMargin" presStyleLbl="node1" presStyleIdx="0" presStyleCnt="5"/>
      <dgm:spPr/>
      <dgm:t>
        <a:bodyPr/>
        <a:lstStyle/>
        <a:p>
          <a:endParaRPr lang="en-US"/>
        </a:p>
      </dgm:t>
    </dgm:pt>
    <dgm:pt modelId="{1B35379C-00D4-422F-A20A-BFE8B788C596}" type="pres">
      <dgm:prSet presAssocID="{F1F3B559-2EAF-4365-B347-4B161320BFAE}" presName="parentText" presStyleLbl="node1" presStyleIdx="0" presStyleCnt="5">
        <dgm:presLayoutVars>
          <dgm:chMax val="0"/>
          <dgm:bulletEnabled val="1"/>
        </dgm:presLayoutVars>
      </dgm:prSet>
      <dgm:spPr/>
      <dgm:t>
        <a:bodyPr/>
        <a:lstStyle/>
        <a:p>
          <a:endParaRPr lang="en-US"/>
        </a:p>
      </dgm:t>
    </dgm:pt>
    <dgm:pt modelId="{5592D7C6-2160-4E55-9387-C46DA895F427}" type="pres">
      <dgm:prSet presAssocID="{F1F3B559-2EAF-4365-B347-4B161320BFAE}" presName="negativeSpace" presStyleCnt="0"/>
      <dgm:spPr/>
    </dgm:pt>
    <dgm:pt modelId="{40CF94C0-3C24-4EBC-9B86-1223E849A8EF}" type="pres">
      <dgm:prSet presAssocID="{F1F3B559-2EAF-4365-B347-4B161320BFAE}" presName="childText" presStyleLbl="conFgAcc1" presStyleIdx="0" presStyleCnt="5">
        <dgm:presLayoutVars>
          <dgm:bulletEnabled val="1"/>
        </dgm:presLayoutVars>
      </dgm:prSet>
      <dgm:spPr/>
    </dgm:pt>
    <dgm:pt modelId="{37AB7EC7-CD67-424B-8724-9E8B079A7BFF}" type="pres">
      <dgm:prSet presAssocID="{3DC303BE-7F28-43E4-9BF3-43AA677E20EB}" presName="spaceBetweenRectangles" presStyleCnt="0"/>
      <dgm:spPr/>
    </dgm:pt>
    <dgm:pt modelId="{09B19D3D-649D-468B-8DEC-4A60F18B1DFA}" type="pres">
      <dgm:prSet presAssocID="{0D630A69-A7D1-4FB7-9877-D70E25FEBBDF}" presName="parentLin" presStyleCnt="0"/>
      <dgm:spPr/>
    </dgm:pt>
    <dgm:pt modelId="{4C6C6A67-30FB-47E8-8BCD-9B6B870DD6D7}" type="pres">
      <dgm:prSet presAssocID="{0D630A69-A7D1-4FB7-9877-D70E25FEBBDF}" presName="parentLeftMargin" presStyleLbl="node1" presStyleIdx="0" presStyleCnt="5"/>
      <dgm:spPr/>
      <dgm:t>
        <a:bodyPr/>
        <a:lstStyle/>
        <a:p>
          <a:endParaRPr lang="en-US"/>
        </a:p>
      </dgm:t>
    </dgm:pt>
    <dgm:pt modelId="{84AA7246-90C1-4DF2-AB07-7CCB31C3B611}" type="pres">
      <dgm:prSet presAssocID="{0D630A69-A7D1-4FB7-9877-D70E25FEBBDF}" presName="parentText" presStyleLbl="node1" presStyleIdx="1" presStyleCnt="5">
        <dgm:presLayoutVars>
          <dgm:chMax val="0"/>
          <dgm:bulletEnabled val="1"/>
        </dgm:presLayoutVars>
      </dgm:prSet>
      <dgm:spPr/>
      <dgm:t>
        <a:bodyPr/>
        <a:lstStyle/>
        <a:p>
          <a:endParaRPr lang="en-US"/>
        </a:p>
      </dgm:t>
    </dgm:pt>
    <dgm:pt modelId="{4ADE5188-AE9A-46BC-9FEA-512ED700F2CA}" type="pres">
      <dgm:prSet presAssocID="{0D630A69-A7D1-4FB7-9877-D70E25FEBBDF}" presName="negativeSpace" presStyleCnt="0"/>
      <dgm:spPr/>
    </dgm:pt>
    <dgm:pt modelId="{E632821A-F24F-4F70-AF82-494EF4BCA46D}" type="pres">
      <dgm:prSet presAssocID="{0D630A69-A7D1-4FB7-9877-D70E25FEBBDF}" presName="childText" presStyleLbl="conFgAcc1" presStyleIdx="1" presStyleCnt="5">
        <dgm:presLayoutVars>
          <dgm:bulletEnabled val="1"/>
        </dgm:presLayoutVars>
      </dgm:prSet>
      <dgm:spPr/>
    </dgm:pt>
    <dgm:pt modelId="{7B9E6290-C3AA-4333-8E6B-0578A8CFA486}" type="pres">
      <dgm:prSet presAssocID="{36D82B5F-A289-4557-916F-836644B9DFD8}" presName="spaceBetweenRectangles" presStyleCnt="0"/>
      <dgm:spPr/>
    </dgm:pt>
    <dgm:pt modelId="{E8BFCE16-5070-4449-80A0-FE91E239DAE8}" type="pres">
      <dgm:prSet presAssocID="{8D1640D8-E92B-42B6-A55B-17EBEDE6B12C}" presName="parentLin" presStyleCnt="0"/>
      <dgm:spPr/>
    </dgm:pt>
    <dgm:pt modelId="{7EA87D17-BC14-4954-B9AA-0D03BB7CCE07}" type="pres">
      <dgm:prSet presAssocID="{8D1640D8-E92B-42B6-A55B-17EBEDE6B12C}" presName="parentLeftMargin" presStyleLbl="node1" presStyleIdx="1" presStyleCnt="5"/>
      <dgm:spPr/>
      <dgm:t>
        <a:bodyPr/>
        <a:lstStyle/>
        <a:p>
          <a:endParaRPr lang="en-US"/>
        </a:p>
      </dgm:t>
    </dgm:pt>
    <dgm:pt modelId="{2479333B-8FDB-4758-AB74-D6B0A3BE3D29}" type="pres">
      <dgm:prSet presAssocID="{8D1640D8-E92B-42B6-A55B-17EBEDE6B12C}" presName="parentText" presStyleLbl="node1" presStyleIdx="2" presStyleCnt="5">
        <dgm:presLayoutVars>
          <dgm:chMax val="0"/>
          <dgm:bulletEnabled val="1"/>
        </dgm:presLayoutVars>
      </dgm:prSet>
      <dgm:spPr/>
      <dgm:t>
        <a:bodyPr/>
        <a:lstStyle/>
        <a:p>
          <a:endParaRPr lang="en-US"/>
        </a:p>
      </dgm:t>
    </dgm:pt>
    <dgm:pt modelId="{2550AF50-F72F-42B9-A622-6A50755F2035}" type="pres">
      <dgm:prSet presAssocID="{8D1640D8-E92B-42B6-A55B-17EBEDE6B12C}" presName="negativeSpace" presStyleCnt="0"/>
      <dgm:spPr/>
    </dgm:pt>
    <dgm:pt modelId="{44ACBB67-B6A7-472B-8A5A-83DE457D2E67}" type="pres">
      <dgm:prSet presAssocID="{8D1640D8-E92B-42B6-A55B-17EBEDE6B12C}" presName="childText" presStyleLbl="conFgAcc1" presStyleIdx="2" presStyleCnt="5">
        <dgm:presLayoutVars>
          <dgm:bulletEnabled val="1"/>
        </dgm:presLayoutVars>
      </dgm:prSet>
      <dgm:spPr/>
    </dgm:pt>
    <dgm:pt modelId="{C6970A1F-E68C-49CE-93CC-9CDA37DAC0A5}" type="pres">
      <dgm:prSet presAssocID="{172EF0A7-79ED-40FD-99E5-543633F398EB}" presName="spaceBetweenRectangles" presStyleCnt="0"/>
      <dgm:spPr/>
    </dgm:pt>
    <dgm:pt modelId="{04E31201-EF4F-42D0-A2FE-8916A471229E}" type="pres">
      <dgm:prSet presAssocID="{B0B2BD98-22B9-4C17-BB9D-594921C09322}" presName="parentLin" presStyleCnt="0"/>
      <dgm:spPr/>
    </dgm:pt>
    <dgm:pt modelId="{1A6E7486-2064-4A75-B5B6-7619573BE6A7}" type="pres">
      <dgm:prSet presAssocID="{B0B2BD98-22B9-4C17-BB9D-594921C09322}" presName="parentLeftMargin" presStyleLbl="node1" presStyleIdx="2" presStyleCnt="5"/>
      <dgm:spPr/>
      <dgm:t>
        <a:bodyPr/>
        <a:lstStyle/>
        <a:p>
          <a:endParaRPr lang="en-US"/>
        </a:p>
      </dgm:t>
    </dgm:pt>
    <dgm:pt modelId="{62C4C70B-055B-4E7F-AF94-5B1E913C9210}" type="pres">
      <dgm:prSet presAssocID="{B0B2BD98-22B9-4C17-BB9D-594921C09322}" presName="parentText" presStyleLbl="node1" presStyleIdx="3" presStyleCnt="5">
        <dgm:presLayoutVars>
          <dgm:chMax val="0"/>
          <dgm:bulletEnabled val="1"/>
        </dgm:presLayoutVars>
      </dgm:prSet>
      <dgm:spPr/>
      <dgm:t>
        <a:bodyPr/>
        <a:lstStyle/>
        <a:p>
          <a:endParaRPr lang="en-US"/>
        </a:p>
      </dgm:t>
    </dgm:pt>
    <dgm:pt modelId="{6EEDB0AF-1850-4F73-8A9C-85CA0353FE49}" type="pres">
      <dgm:prSet presAssocID="{B0B2BD98-22B9-4C17-BB9D-594921C09322}" presName="negativeSpace" presStyleCnt="0"/>
      <dgm:spPr/>
    </dgm:pt>
    <dgm:pt modelId="{165210B6-48A5-469E-96AA-912688BAC647}" type="pres">
      <dgm:prSet presAssocID="{B0B2BD98-22B9-4C17-BB9D-594921C09322}" presName="childText" presStyleLbl="conFgAcc1" presStyleIdx="3" presStyleCnt="5">
        <dgm:presLayoutVars>
          <dgm:bulletEnabled val="1"/>
        </dgm:presLayoutVars>
      </dgm:prSet>
      <dgm:spPr/>
    </dgm:pt>
    <dgm:pt modelId="{89C686F0-0397-45A0-A7BF-8FE9DE4108F6}" type="pres">
      <dgm:prSet presAssocID="{7428A367-2063-46BD-9F1D-2015ECAA9542}" presName="spaceBetweenRectangles" presStyleCnt="0"/>
      <dgm:spPr/>
    </dgm:pt>
    <dgm:pt modelId="{0CDC9BC8-8315-42A0-9A88-41F7D6AB7835}" type="pres">
      <dgm:prSet presAssocID="{6A2CE73B-AC83-4C7D-AF03-F91C56CB3932}" presName="parentLin" presStyleCnt="0"/>
      <dgm:spPr/>
    </dgm:pt>
    <dgm:pt modelId="{2DB01FBC-AC75-4BF5-8491-6FCF5682ECFC}" type="pres">
      <dgm:prSet presAssocID="{6A2CE73B-AC83-4C7D-AF03-F91C56CB3932}" presName="parentLeftMargin" presStyleLbl="node1" presStyleIdx="3" presStyleCnt="5"/>
      <dgm:spPr/>
      <dgm:t>
        <a:bodyPr/>
        <a:lstStyle/>
        <a:p>
          <a:endParaRPr lang="en-US"/>
        </a:p>
      </dgm:t>
    </dgm:pt>
    <dgm:pt modelId="{DD6AA04F-3E47-46BF-996D-41633F9C559A}" type="pres">
      <dgm:prSet presAssocID="{6A2CE73B-AC83-4C7D-AF03-F91C56CB3932}" presName="parentText" presStyleLbl="node1" presStyleIdx="4" presStyleCnt="5">
        <dgm:presLayoutVars>
          <dgm:chMax val="0"/>
          <dgm:bulletEnabled val="1"/>
        </dgm:presLayoutVars>
      </dgm:prSet>
      <dgm:spPr/>
      <dgm:t>
        <a:bodyPr/>
        <a:lstStyle/>
        <a:p>
          <a:endParaRPr lang="en-US"/>
        </a:p>
      </dgm:t>
    </dgm:pt>
    <dgm:pt modelId="{D35CBF95-93BA-4974-BF13-8A38AC4AC2E0}" type="pres">
      <dgm:prSet presAssocID="{6A2CE73B-AC83-4C7D-AF03-F91C56CB3932}" presName="negativeSpace" presStyleCnt="0"/>
      <dgm:spPr/>
    </dgm:pt>
    <dgm:pt modelId="{67C4DCAC-226C-4FC5-92DA-092B92B86A31}" type="pres">
      <dgm:prSet presAssocID="{6A2CE73B-AC83-4C7D-AF03-F91C56CB3932}" presName="childText" presStyleLbl="conFgAcc1" presStyleIdx="4" presStyleCnt="5">
        <dgm:presLayoutVars>
          <dgm:bulletEnabled val="1"/>
        </dgm:presLayoutVars>
      </dgm:prSet>
      <dgm:spPr/>
    </dgm:pt>
  </dgm:ptLst>
  <dgm:cxnLst>
    <dgm:cxn modelId="{EC89815C-1061-416E-A341-91D0F441E1AC}" type="presOf" srcId="{6A2CE73B-AC83-4C7D-AF03-F91C56CB3932}" destId="{2DB01FBC-AC75-4BF5-8491-6FCF5682ECFC}" srcOrd="0" destOrd="0" presId="urn:microsoft.com/office/officeart/2005/8/layout/list1"/>
    <dgm:cxn modelId="{285E4E9F-2D84-4623-9D31-D6256A587AB0}" type="presOf" srcId="{6A2CE73B-AC83-4C7D-AF03-F91C56CB3932}" destId="{DD6AA04F-3E47-46BF-996D-41633F9C559A}" srcOrd="1" destOrd="0" presId="urn:microsoft.com/office/officeart/2005/8/layout/list1"/>
    <dgm:cxn modelId="{26009612-249D-45D0-A142-1528573C0295}" srcId="{C3BC044D-91F2-4A30-B068-A9863D1A704B}" destId="{B0B2BD98-22B9-4C17-BB9D-594921C09322}" srcOrd="3" destOrd="0" parTransId="{D20E2EFF-BC83-4798-9211-68DEB2D34BCE}" sibTransId="{7428A367-2063-46BD-9F1D-2015ECAA9542}"/>
    <dgm:cxn modelId="{5005A5C1-D017-403D-ABBC-0B11A84E4EDB}" type="presOf" srcId="{C3BC044D-91F2-4A30-B068-A9863D1A704B}" destId="{0AE45C58-62CC-4EBE-822D-9984E1AB6C8F}" srcOrd="0" destOrd="0" presId="urn:microsoft.com/office/officeart/2005/8/layout/list1"/>
    <dgm:cxn modelId="{35E396B3-9333-4970-BE08-FC581BB21D5E}" srcId="{C3BC044D-91F2-4A30-B068-A9863D1A704B}" destId="{F1F3B559-2EAF-4365-B347-4B161320BFAE}" srcOrd="0" destOrd="0" parTransId="{2EA37228-CDC9-4D47-BFD0-735E4885900E}" sibTransId="{3DC303BE-7F28-43E4-9BF3-43AA677E20EB}"/>
    <dgm:cxn modelId="{B43BF0AB-027C-4FF7-8CDF-A2E8B9D9FB54}" type="presOf" srcId="{B0B2BD98-22B9-4C17-BB9D-594921C09322}" destId="{62C4C70B-055B-4E7F-AF94-5B1E913C9210}" srcOrd="1" destOrd="0" presId="urn:microsoft.com/office/officeart/2005/8/layout/list1"/>
    <dgm:cxn modelId="{378F6A62-5E9A-41FE-8953-4937DB7776EF}" type="presOf" srcId="{8D1640D8-E92B-42B6-A55B-17EBEDE6B12C}" destId="{7EA87D17-BC14-4954-B9AA-0D03BB7CCE07}" srcOrd="0" destOrd="0" presId="urn:microsoft.com/office/officeart/2005/8/layout/list1"/>
    <dgm:cxn modelId="{50C977BD-B6F1-450C-BB0C-D8C19CB45A3C}" srcId="{C3BC044D-91F2-4A30-B068-A9863D1A704B}" destId="{6A2CE73B-AC83-4C7D-AF03-F91C56CB3932}" srcOrd="4" destOrd="0" parTransId="{41DCADC0-D547-4623-909C-E5E8C7695E53}" sibTransId="{4F902847-09FA-44A4-9372-9AC40A15AF42}"/>
    <dgm:cxn modelId="{E58C0FFB-47C4-4876-BC7F-A9AFC6869515}" type="presOf" srcId="{F1F3B559-2EAF-4365-B347-4B161320BFAE}" destId="{1B35379C-00D4-422F-A20A-BFE8B788C596}" srcOrd="1" destOrd="0" presId="urn:microsoft.com/office/officeart/2005/8/layout/list1"/>
    <dgm:cxn modelId="{F8D14402-5FA3-4940-8559-FA92CCB9423F}" type="presOf" srcId="{8D1640D8-E92B-42B6-A55B-17EBEDE6B12C}" destId="{2479333B-8FDB-4758-AB74-D6B0A3BE3D29}" srcOrd="1" destOrd="0" presId="urn:microsoft.com/office/officeart/2005/8/layout/list1"/>
    <dgm:cxn modelId="{7FC9B1E5-C2CB-4B3F-B430-942F59C69155}" type="presOf" srcId="{0D630A69-A7D1-4FB7-9877-D70E25FEBBDF}" destId="{84AA7246-90C1-4DF2-AB07-7CCB31C3B611}" srcOrd="1" destOrd="0" presId="urn:microsoft.com/office/officeart/2005/8/layout/list1"/>
    <dgm:cxn modelId="{B37E7130-0C4D-490F-B417-2E0DF961739A}" type="presOf" srcId="{0D630A69-A7D1-4FB7-9877-D70E25FEBBDF}" destId="{4C6C6A67-30FB-47E8-8BCD-9B6B870DD6D7}" srcOrd="0" destOrd="0" presId="urn:microsoft.com/office/officeart/2005/8/layout/list1"/>
    <dgm:cxn modelId="{58CBA828-2A47-41BD-9FFE-050FEDE009BB}" type="presOf" srcId="{F1F3B559-2EAF-4365-B347-4B161320BFAE}" destId="{2DB95F5B-0A18-453D-81A7-F5B422D499DE}" srcOrd="0" destOrd="0" presId="urn:microsoft.com/office/officeart/2005/8/layout/list1"/>
    <dgm:cxn modelId="{AB19EDF9-3DB6-48A5-B52F-66A99F302A4F}" srcId="{C3BC044D-91F2-4A30-B068-A9863D1A704B}" destId="{0D630A69-A7D1-4FB7-9877-D70E25FEBBDF}" srcOrd="1" destOrd="0" parTransId="{9FFBCB03-3CA9-4DCD-8839-D3029DF2E8D3}" sibTransId="{36D82B5F-A289-4557-916F-836644B9DFD8}"/>
    <dgm:cxn modelId="{A8B884C9-5A22-4783-B101-F85B1A43EDFD}" type="presOf" srcId="{B0B2BD98-22B9-4C17-BB9D-594921C09322}" destId="{1A6E7486-2064-4A75-B5B6-7619573BE6A7}" srcOrd="0" destOrd="0" presId="urn:microsoft.com/office/officeart/2005/8/layout/list1"/>
    <dgm:cxn modelId="{814F736B-8E11-401A-8D6C-CF134CC74F47}" srcId="{C3BC044D-91F2-4A30-B068-A9863D1A704B}" destId="{8D1640D8-E92B-42B6-A55B-17EBEDE6B12C}" srcOrd="2" destOrd="0" parTransId="{767E34AA-D24F-498C-B59E-6233CE353BE5}" sibTransId="{172EF0A7-79ED-40FD-99E5-543633F398EB}"/>
    <dgm:cxn modelId="{B646A4F1-EB8D-447C-9915-113B76F3A4E9}" type="presParOf" srcId="{0AE45C58-62CC-4EBE-822D-9984E1AB6C8F}" destId="{E1962F02-1B3F-4CEA-A31F-CD624BC79259}" srcOrd="0" destOrd="0" presId="urn:microsoft.com/office/officeart/2005/8/layout/list1"/>
    <dgm:cxn modelId="{1D9A4178-C567-4000-8FE5-5E3E0C62A493}" type="presParOf" srcId="{E1962F02-1B3F-4CEA-A31F-CD624BC79259}" destId="{2DB95F5B-0A18-453D-81A7-F5B422D499DE}" srcOrd="0" destOrd="0" presId="urn:microsoft.com/office/officeart/2005/8/layout/list1"/>
    <dgm:cxn modelId="{7CBCFF5B-A17D-4367-B6B7-2139808F25CD}" type="presParOf" srcId="{E1962F02-1B3F-4CEA-A31F-CD624BC79259}" destId="{1B35379C-00D4-422F-A20A-BFE8B788C596}" srcOrd="1" destOrd="0" presId="urn:microsoft.com/office/officeart/2005/8/layout/list1"/>
    <dgm:cxn modelId="{077FF2D9-6E48-4AAE-B2D8-3E681D751645}" type="presParOf" srcId="{0AE45C58-62CC-4EBE-822D-9984E1AB6C8F}" destId="{5592D7C6-2160-4E55-9387-C46DA895F427}" srcOrd="1" destOrd="0" presId="urn:microsoft.com/office/officeart/2005/8/layout/list1"/>
    <dgm:cxn modelId="{14FFD711-242B-44DC-A0B9-214877DC3ECE}" type="presParOf" srcId="{0AE45C58-62CC-4EBE-822D-9984E1AB6C8F}" destId="{40CF94C0-3C24-4EBC-9B86-1223E849A8EF}" srcOrd="2" destOrd="0" presId="urn:microsoft.com/office/officeart/2005/8/layout/list1"/>
    <dgm:cxn modelId="{0FC367DF-929A-40D0-9E6F-2219DC65B040}" type="presParOf" srcId="{0AE45C58-62CC-4EBE-822D-9984E1AB6C8F}" destId="{37AB7EC7-CD67-424B-8724-9E8B079A7BFF}" srcOrd="3" destOrd="0" presId="urn:microsoft.com/office/officeart/2005/8/layout/list1"/>
    <dgm:cxn modelId="{4E353196-491E-4606-B297-16BC7BC88C94}" type="presParOf" srcId="{0AE45C58-62CC-4EBE-822D-9984E1AB6C8F}" destId="{09B19D3D-649D-468B-8DEC-4A60F18B1DFA}" srcOrd="4" destOrd="0" presId="urn:microsoft.com/office/officeart/2005/8/layout/list1"/>
    <dgm:cxn modelId="{FC5DAC08-4467-4CE7-AC1E-57DFDCA9D275}" type="presParOf" srcId="{09B19D3D-649D-468B-8DEC-4A60F18B1DFA}" destId="{4C6C6A67-30FB-47E8-8BCD-9B6B870DD6D7}" srcOrd="0" destOrd="0" presId="urn:microsoft.com/office/officeart/2005/8/layout/list1"/>
    <dgm:cxn modelId="{BFA96653-F015-42DA-8894-A5C5B6C50541}" type="presParOf" srcId="{09B19D3D-649D-468B-8DEC-4A60F18B1DFA}" destId="{84AA7246-90C1-4DF2-AB07-7CCB31C3B611}" srcOrd="1" destOrd="0" presId="urn:microsoft.com/office/officeart/2005/8/layout/list1"/>
    <dgm:cxn modelId="{7C5CFE82-EEA1-4B18-A34C-424A63560B0B}" type="presParOf" srcId="{0AE45C58-62CC-4EBE-822D-9984E1AB6C8F}" destId="{4ADE5188-AE9A-46BC-9FEA-512ED700F2CA}" srcOrd="5" destOrd="0" presId="urn:microsoft.com/office/officeart/2005/8/layout/list1"/>
    <dgm:cxn modelId="{9C060177-342D-4ABC-BA7E-54B3A41C15CC}" type="presParOf" srcId="{0AE45C58-62CC-4EBE-822D-9984E1AB6C8F}" destId="{E632821A-F24F-4F70-AF82-494EF4BCA46D}" srcOrd="6" destOrd="0" presId="urn:microsoft.com/office/officeart/2005/8/layout/list1"/>
    <dgm:cxn modelId="{8098895E-F9A3-4C9B-B070-2D028A9F87A9}" type="presParOf" srcId="{0AE45C58-62CC-4EBE-822D-9984E1AB6C8F}" destId="{7B9E6290-C3AA-4333-8E6B-0578A8CFA486}" srcOrd="7" destOrd="0" presId="urn:microsoft.com/office/officeart/2005/8/layout/list1"/>
    <dgm:cxn modelId="{5DEA9314-FE42-41C2-AF5E-CE4FADEA17D0}" type="presParOf" srcId="{0AE45C58-62CC-4EBE-822D-9984E1AB6C8F}" destId="{E8BFCE16-5070-4449-80A0-FE91E239DAE8}" srcOrd="8" destOrd="0" presId="urn:microsoft.com/office/officeart/2005/8/layout/list1"/>
    <dgm:cxn modelId="{E0950AE9-87D2-4AEC-859F-8CDA9598E7CB}" type="presParOf" srcId="{E8BFCE16-5070-4449-80A0-FE91E239DAE8}" destId="{7EA87D17-BC14-4954-B9AA-0D03BB7CCE07}" srcOrd="0" destOrd="0" presId="urn:microsoft.com/office/officeart/2005/8/layout/list1"/>
    <dgm:cxn modelId="{C816E1A2-0311-4EDD-9D08-4859FD996634}" type="presParOf" srcId="{E8BFCE16-5070-4449-80A0-FE91E239DAE8}" destId="{2479333B-8FDB-4758-AB74-D6B0A3BE3D29}" srcOrd="1" destOrd="0" presId="urn:microsoft.com/office/officeart/2005/8/layout/list1"/>
    <dgm:cxn modelId="{6C061E5F-A38F-4A82-88D9-A705B9140470}" type="presParOf" srcId="{0AE45C58-62CC-4EBE-822D-9984E1AB6C8F}" destId="{2550AF50-F72F-42B9-A622-6A50755F2035}" srcOrd="9" destOrd="0" presId="urn:microsoft.com/office/officeart/2005/8/layout/list1"/>
    <dgm:cxn modelId="{E8FCB319-34A9-4E19-91E3-D3B1792C4442}" type="presParOf" srcId="{0AE45C58-62CC-4EBE-822D-9984E1AB6C8F}" destId="{44ACBB67-B6A7-472B-8A5A-83DE457D2E67}" srcOrd="10" destOrd="0" presId="urn:microsoft.com/office/officeart/2005/8/layout/list1"/>
    <dgm:cxn modelId="{0A923A76-6E12-46BF-80FA-BA8AB93ABEC4}" type="presParOf" srcId="{0AE45C58-62CC-4EBE-822D-9984E1AB6C8F}" destId="{C6970A1F-E68C-49CE-93CC-9CDA37DAC0A5}" srcOrd="11" destOrd="0" presId="urn:microsoft.com/office/officeart/2005/8/layout/list1"/>
    <dgm:cxn modelId="{BB361DF7-8A1D-4310-8E80-505077723EE0}" type="presParOf" srcId="{0AE45C58-62CC-4EBE-822D-9984E1AB6C8F}" destId="{04E31201-EF4F-42D0-A2FE-8916A471229E}" srcOrd="12" destOrd="0" presId="urn:microsoft.com/office/officeart/2005/8/layout/list1"/>
    <dgm:cxn modelId="{403C01E8-6FB5-41E4-A761-DB8B55442580}" type="presParOf" srcId="{04E31201-EF4F-42D0-A2FE-8916A471229E}" destId="{1A6E7486-2064-4A75-B5B6-7619573BE6A7}" srcOrd="0" destOrd="0" presId="urn:microsoft.com/office/officeart/2005/8/layout/list1"/>
    <dgm:cxn modelId="{B941D115-6C84-49ED-B3E1-A520BD3D5B62}" type="presParOf" srcId="{04E31201-EF4F-42D0-A2FE-8916A471229E}" destId="{62C4C70B-055B-4E7F-AF94-5B1E913C9210}" srcOrd="1" destOrd="0" presId="urn:microsoft.com/office/officeart/2005/8/layout/list1"/>
    <dgm:cxn modelId="{36AF9532-653D-4D2F-93A1-182E60E6E9E8}" type="presParOf" srcId="{0AE45C58-62CC-4EBE-822D-9984E1AB6C8F}" destId="{6EEDB0AF-1850-4F73-8A9C-85CA0353FE49}" srcOrd="13" destOrd="0" presId="urn:microsoft.com/office/officeart/2005/8/layout/list1"/>
    <dgm:cxn modelId="{0C9391F3-0F08-421F-95EA-28ED4EE3A0A9}" type="presParOf" srcId="{0AE45C58-62CC-4EBE-822D-9984E1AB6C8F}" destId="{165210B6-48A5-469E-96AA-912688BAC647}" srcOrd="14" destOrd="0" presId="urn:microsoft.com/office/officeart/2005/8/layout/list1"/>
    <dgm:cxn modelId="{F152DC6B-F1D5-4455-AFD8-DFC34F3BA708}" type="presParOf" srcId="{0AE45C58-62CC-4EBE-822D-9984E1AB6C8F}" destId="{89C686F0-0397-45A0-A7BF-8FE9DE4108F6}" srcOrd="15" destOrd="0" presId="urn:microsoft.com/office/officeart/2005/8/layout/list1"/>
    <dgm:cxn modelId="{5CAAF518-294D-446F-B151-13C003FFA98D}" type="presParOf" srcId="{0AE45C58-62CC-4EBE-822D-9984E1AB6C8F}" destId="{0CDC9BC8-8315-42A0-9A88-41F7D6AB7835}" srcOrd="16" destOrd="0" presId="urn:microsoft.com/office/officeart/2005/8/layout/list1"/>
    <dgm:cxn modelId="{18AA428E-9D6A-4D42-A3CD-D486BB373286}" type="presParOf" srcId="{0CDC9BC8-8315-42A0-9A88-41F7D6AB7835}" destId="{2DB01FBC-AC75-4BF5-8491-6FCF5682ECFC}" srcOrd="0" destOrd="0" presId="urn:microsoft.com/office/officeart/2005/8/layout/list1"/>
    <dgm:cxn modelId="{F917E0B5-BBA2-4C87-B6AE-F16C2BBAC225}" type="presParOf" srcId="{0CDC9BC8-8315-42A0-9A88-41F7D6AB7835}" destId="{DD6AA04F-3E47-46BF-996D-41633F9C559A}" srcOrd="1" destOrd="0" presId="urn:microsoft.com/office/officeart/2005/8/layout/list1"/>
    <dgm:cxn modelId="{1C335921-818E-4E51-84E0-BA73FD8FB1D3}" type="presParOf" srcId="{0AE45C58-62CC-4EBE-822D-9984E1AB6C8F}" destId="{D35CBF95-93BA-4974-BF13-8A38AC4AC2E0}" srcOrd="17" destOrd="0" presId="urn:microsoft.com/office/officeart/2005/8/layout/list1"/>
    <dgm:cxn modelId="{D6725621-79E4-4671-92E6-85B6E5E25192}" type="presParOf" srcId="{0AE45C58-62CC-4EBE-822D-9984E1AB6C8F}" destId="{67C4DCAC-226C-4FC5-92DA-092B92B86A31}"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2FB3902-6466-41E2-A4A2-8CED1490FA7A}" type="doc">
      <dgm:prSet loTypeId="urn:microsoft.com/office/officeart/2005/8/layout/vList3" loCatId="list" qsTypeId="urn:microsoft.com/office/officeart/2005/8/quickstyle/simple1" qsCatId="simple" csTypeId="urn:microsoft.com/office/officeart/2005/8/colors/accent1_2" csCatId="accent1" phldr="1"/>
      <dgm:spPr/>
    </dgm:pt>
    <dgm:pt modelId="{522ECBA1-33AB-47E6-9DBE-CE641CBACB18}">
      <dgm:prSet phldrT="[Text]"/>
      <dgm:spPr/>
      <dgm:t>
        <a:bodyPr/>
        <a:lstStyle/>
        <a:p>
          <a:pPr algn="l"/>
          <a:r>
            <a:rPr lang="en-US" dirty="0" smtClean="0"/>
            <a:t>Athletics conditioning, practices and games</a:t>
          </a:r>
          <a:endParaRPr lang="en-US" dirty="0"/>
        </a:p>
      </dgm:t>
    </dgm:pt>
    <dgm:pt modelId="{DC4FE836-F6AE-41A0-A192-362C50ED9926}" type="parTrans" cxnId="{A2967E61-7C77-4B1B-85E4-5EB90F744DB6}">
      <dgm:prSet/>
      <dgm:spPr/>
      <dgm:t>
        <a:bodyPr/>
        <a:lstStyle/>
        <a:p>
          <a:endParaRPr lang="en-US"/>
        </a:p>
      </dgm:t>
    </dgm:pt>
    <dgm:pt modelId="{869F4CA6-C8F3-4ADA-9042-E68D8F49C898}" type="sibTrans" cxnId="{A2967E61-7C77-4B1B-85E4-5EB90F744DB6}">
      <dgm:prSet/>
      <dgm:spPr/>
      <dgm:t>
        <a:bodyPr/>
        <a:lstStyle/>
        <a:p>
          <a:endParaRPr lang="en-US"/>
        </a:p>
      </dgm:t>
    </dgm:pt>
    <dgm:pt modelId="{98ED2D76-2AD7-4CAD-815E-5D86A8899BE3}">
      <dgm:prSet phldrT="[Text]"/>
      <dgm:spPr/>
      <dgm:t>
        <a:bodyPr/>
        <a:lstStyle/>
        <a:p>
          <a:pPr algn="l"/>
          <a:r>
            <a:rPr lang="en-US" baseline="0" dirty="0" smtClean="0"/>
            <a:t>Club and </a:t>
          </a:r>
          <a:r>
            <a:rPr lang="en-US" baseline="0" dirty="0" smtClean="0"/>
            <a:t>intramural </a:t>
          </a:r>
          <a:r>
            <a:rPr lang="en-US" baseline="0" dirty="0" smtClean="0"/>
            <a:t>activities</a:t>
          </a:r>
          <a:endParaRPr lang="en-US" dirty="0"/>
        </a:p>
      </dgm:t>
    </dgm:pt>
    <dgm:pt modelId="{69689409-6151-489C-941E-B7D1506B2A8D}" type="parTrans" cxnId="{B50B00B8-DD66-4534-9539-C64466EC7EAD}">
      <dgm:prSet/>
      <dgm:spPr/>
      <dgm:t>
        <a:bodyPr/>
        <a:lstStyle/>
        <a:p>
          <a:endParaRPr lang="en-US"/>
        </a:p>
      </dgm:t>
    </dgm:pt>
    <dgm:pt modelId="{A59C3A6C-2B12-4B50-B700-0D73B20A2151}" type="sibTrans" cxnId="{B50B00B8-DD66-4534-9539-C64466EC7EAD}">
      <dgm:prSet/>
      <dgm:spPr/>
      <dgm:t>
        <a:bodyPr/>
        <a:lstStyle/>
        <a:p>
          <a:endParaRPr lang="en-US"/>
        </a:p>
      </dgm:t>
    </dgm:pt>
    <dgm:pt modelId="{CD4CD0AE-66D3-4E49-9634-5F0AF303D32F}">
      <dgm:prSet phldrT="[Text]"/>
      <dgm:spPr/>
      <dgm:t>
        <a:bodyPr/>
        <a:lstStyle/>
        <a:p>
          <a:pPr algn="l"/>
          <a:r>
            <a:rPr lang="en-US" dirty="0" smtClean="0"/>
            <a:t>Classroom work that is normally lecture and labs but goes outdoors for additional activities</a:t>
          </a:r>
          <a:endParaRPr lang="en-US" dirty="0"/>
        </a:p>
      </dgm:t>
    </dgm:pt>
    <dgm:pt modelId="{AA8E0373-6A87-4964-A2B6-7EA1AA50F92F}" type="parTrans" cxnId="{1D8E6B47-4575-4ACA-ADF7-628A1B33945C}">
      <dgm:prSet/>
      <dgm:spPr/>
      <dgm:t>
        <a:bodyPr/>
        <a:lstStyle/>
        <a:p>
          <a:endParaRPr lang="en-US"/>
        </a:p>
      </dgm:t>
    </dgm:pt>
    <dgm:pt modelId="{0D8C3C28-47E1-4B5B-9467-3BB989B22FE4}" type="sibTrans" cxnId="{1D8E6B47-4575-4ACA-ADF7-628A1B33945C}">
      <dgm:prSet/>
      <dgm:spPr/>
      <dgm:t>
        <a:bodyPr/>
        <a:lstStyle/>
        <a:p>
          <a:endParaRPr lang="en-US"/>
        </a:p>
      </dgm:t>
    </dgm:pt>
    <dgm:pt modelId="{AC691534-3255-4A40-AE26-8AEA12E676F2}">
      <dgm:prSet/>
      <dgm:spPr/>
      <dgm:t>
        <a:bodyPr/>
        <a:lstStyle/>
        <a:p>
          <a:pPr algn="l"/>
          <a:r>
            <a:rPr lang="en-US" baseline="0" dirty="0" smtClean="0"/>
            <a:t>Science fieldwork</a:t>
          </a:r>
          <a:endParaRPr lang="en-US" dirty="0" smtClean="0"/>
        </a:p>
      </dgm:t>
    </dgm:pt>
    <dgm:pt modelId="{FDB7C76C-6FEC-4CE1-942C-DDDF99F69A93}" type="parTrans" cxnId="{073B2AF8-EFE7-4D98-AABD-F42E1C3D766A}">
      <dgm:prSet/>
      <dgm:spPr/>
      <dgm:t>
        <a:bodyPr/>
        <a:lstStyle/>
        <a:p>
          <a:endParaRPr lang="en-US"/>
        </a:p>
      </dgm:t>
    </dgm:pt>
    <dgm:pt modelId="{200B11F8-17D9-4AB6-82CF-053975683122}" type="sibTrans" cxnId="{073B2AF8-EFE7-4D98-AABD-F42E1C3D766A}">
      <dgm:prSet/>
      <dgm:spPr/>
      <dgm:t>
        <a:bodyPr/>
        <a:lstStyle/>
        <a:p>
          <a:endParaRPr lang="en-US"/>
        </a:p>
      </dgm:t>
    </dgm:pt>
    <dgm:pt modelId="{6B2DE6D6-A5B7-4E29-96C9-BE00536F5925}" type="pres">
      <dgm:prSet presAssocID="{12FB3902-6466-41E2-A4A2-8CED1490FA7A}" presName="linearFlow" presStyleCnt="0">
        <dgm:presLayoutVars>
          <dgm:dir/>
          <dgm:resizeHandles val="exact"/>
        </dgm:presLayoutVars>
      </dgm:prSet>
      <dgm:spPr/>
    </dgm:pt>
    <dgm:pt modelId="{FC6425CF-A40D-4A3F-B2F9-85FD71B25CD4}" type="pres">
      <dgm:prSet presAssocID="{522ECBA1-33AB-47E6-9DBE-CE641CBACB18}" presName="composite" presStyleCnt="0"/>
      <dgm:spPr/>
    </dgm:pt>
    <dgm:pt modelId="{EE315A61-3E41-49CA-8B3C-58E16CE0FA2B}" type="pres">
      <dgm:prSet presAssocID="{522ECBA1-33AB-47E6-9DBE-CE641CBACB18}" presName="imgShp" presStyleLbl="fgImgPlace1" presStyleIdx="0" presStyleCnt="4" custLinFactX="-3635" custLinFactNeighborX="-100000" custLinFactNeighborY="-83"/>
      <dgm:spPr>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7C07EF6D-DA0C-4787-916C-3D01F04A4D9B}" type="pres">
      <dgm:prSet presAssocID="{522ECBA1-33AB-47E6-9DBE-CE641CBACB18}" presName="txShp" presStyleLbl="node1" presStyleIdx="0" presStyleCnt="4" custScaleX="130595" custLinFactNeighborY="-83">
        <dgm:presLayoutVars>
          <dgm:bulletEnabled val="1"/>
        </dgm:presLayoutVars>
      </dgm:prSet>
      <dgm:spPr/>
      <dgm:t>
        <a:bodyPr/>
        <a:lstStyle/>
        <a:p>
          <a:endParaRPr lang="en-US"/>
        </a:p>
      </dgm:t>
    </dgm:pt>
    <dgm:pt modelId="{6368CC72-1326-4BCE-B8C4-37FC1DC71073}" type="pres">
      <dgm:prSet presAssocID="{869F4CA6-C8F3-4ADA-9042-E68D8F49C898}" presName="spacing" presStyleCnt="0"/>
      <dgm:spPr/>
    </dgm:pt>
    <dgm:pt modelId="{0582A866-CB47-4CFB-B35C-C54B432E1779}" type="pres">
      <dgm:prSet presAssocID="{98ED2D76-2AD7-4CAD-815E-5D86A8899BE3}" presName="composite" presStyleCnt="0"/>
      <dgm:spPr/>
    </dgm:pt>
    <dgm:pt modelId="{EEF56400-31DC-4393-9860-67A4E7F6ED3A}" type="pres">
      <dgm:prSet presAssocID="{98ED2D76-2AD7-4CAD-815E-5D86A8899BE3}" presName="imgShp" presStyleLbl="fgImgPlace1" presStyleIdx="1" presStyleCnt="4" custLinFactX="-1858" custLinFactNeighborX="-100000" custLinFactNeighborY="2527"/>
      <dgm:spPr>
        <a:blipFill>
          <a:blip xmlns:r="http://schemas.openxmlformats.org/officeDocument/2006/relationships" r:embed="rId2">
            <a:extLst>
              <a:ext uri="{28A0092B-C50C-407E-A947-70E740481C1C}">
                <a14:useLocalDpi xmlns:a14="http://schemas.microsoft.com/office/drawing/2010/main" val="0"/>
              </a:ext>
            </a:extLst>
          </a:blip>
          <a:srcRect/>
          <a:stretch>
            <a:fillRect l="-9000" r="-9000"/>
          </a:stretch>
        </a:blipFill>
      </dgm:spPr>
    </dgm:pt>
    <dgm:pt modelId="{E94FEC7B-84F4-4B40-9BD4-CCCDACED482D}" type="pres">
      <dgm:prSet presAssocID="{98ED2D76-2AD7-4CAD-815E-5D86A8899BE3}" presName="txShp" presStyleLbl="node1" presStyleIdx="1" presStyleCnt="4" custScaleX="130246" custLinFactNeighborX="981" custLinFactNeighborY="-6938">
        <dgm:presLayoutVars>
          <dgm:bulletEnabled val="1"/>
        </dgm:presLayoutVars>
      </dgm:prSet>
      <dgm:spPr/>
      <dgm:t>
        <a:bodyPr/>
        <a:lstStyle/>
        <a:p>
          <a:endParaRPr lang="en-US"/>
        </a:p>
      </dgm:t>
    </dgm:pt>
    <dgm:pt modelId="{FA34006D-5C20-48C4-B367-44FDDD1776B3}" type="pres">
      <dgm:prSet presAssocID="{A59C3A6C-2B12-4B50-B700-0D73B20A2151}" presName="spacing" presStyleCnt="0"/>
      <dgm:spPr/>
    </dgm:pt>
    <dgm:pt modelId="{3591A463-82F2-4728-9DDD-4E5E8A049D53}" type="pres">
      <dgm:prSet presAssocID="{CD4CD0AE-66D3-4E49-9634-5F0AF303D32F}" presName="composite" presStyleCnt="0"/>
      <dgm:spPr/>
    </dgm:pt>
    <dgm:pt modelId="{72EA9B8F-A7E5-4632-893A-1113D1540D0E}" type="pres">
      <dgm:prSet presAssocID="{CD4CD0AE-66D3-4E49-9634-5F0AF303D32F}" presName="imgShp" presStyleLbl="fgImgPlace1" presStyleIdx="2" presStyleCnt="4" custLinFactX="-2826" custLinFactNeighborX="-100000"/>
      <dgm:spPr>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dgm:spPr>
    </dgm:pt>
    <dgm:pt modelId="{D5E3D500-A90B-42A3-8616-C7C7C11A2D6D}" type="pres">
      <dgm:prSet presAssocID="{CD4CD0AE-66D3-4E49-9634-5F0AF303D32F}" presName="txShp" presStyleLbl="node1" presStyleIdx="2" presStyleCnt="4" custScaleX="130246">
        <dgm:presLayoutVars>
          <dgm:bulletEnabled val="1"/>
        </dgm:presLayoutVars>
      </dgm:prSet>
      <dgm:spPr/>
      <dgm:t>
        <a:bodyPr/>
        <a:lstStyle/>
        <a:p>
          <a:endParaRPr lang="en-US"/>
        </a:p>
      </dgm:t>
    </dgm:pt>
    <dgm:pt modelId="{03B3A3CF-890D-432E-AB31-9210AB478141}" type="pres">
      <dgm:prSet presAssocID="{0D8C3C28-47E1-4B5B-9467-3BB989B22FE4}" presName="spacing" presStyleCnt="0"/>
      <dgm:spPr/>
    </dgm:pt>
    <dgm:pt modelId="{CC74D204-0D96-44DE-8E1C-A8C21E162731}" type="pres">
      <dgm:prSet presAssocID="{AC691534-3255-4A40-AE26-8AEA12E676F2}" presName="composite" presStyleCnt="0"/>
      <dgm:spPr/>
    </dgm:pt>
    <dgm:pt modelId="{3272588D-C336-4039-A026-58E54475A152}" type="pres">
      <dgm:prSet presAssocID="{AC691534-3255-4A40-AE26-8AEA12E676F2}" presName="imgShp" presStyleLbl="fgImgPlace1" presStyleIdx="3" presStyleCnt="4" custLinFactX="-2823" custLinFactNeighborX="-100000"/>
      <dgm:spPr>
        <a:blipFill>
          <a:blip xmlns:r="http://schemas.openxmlformats.org/officeDocument/2006/relationships" r:embed="rId4">
            <a:extLst>
              <a:ext uri="{28A0092B-C50C-407E-A947-70E740481C1C}">
                <a14:useLocalDpi xmlns:a14="http://schemas.microsoft.com/office/drawing/2010/main" val="0"/>
              </a:ext>
            </a:extLst>
          </a:blip>
          <a:srcRect/>
          <a:stretch>
            <a:fillRect/>
          </a:stretch>
        </a:blipFill>
      </dgm:spPr>
    </dgm:pt>
    <dgm:pt modelId="{0D8B4C4F-40EE-412F-A767-3AF3396A9266}" type="pres">
      <dgm:prSet presAssocID="{AC691534-3255-4A40-AE26-8AEA12E676F2}" presName="txShp" presStyleLbl="node1" presStyleIdx="3" presStyleCnt="4" custScaleX="130246">
        <dgm:presLayoutVars>
          <dgm:bulletEnabled val="1"/>
        </dgm:presLayoutVars>
      </dgm:prSet>
      <dgm:spPr/>
      <dgm:t>
        <a:bodyPr/>
        <a:lstStyle/>
        <a:p>
          <a:endParaRPr lang="en-US"/>
        </a:p>
      </dgm:t>
    </dgm:pt>
  </dgm:ptLst>
  <dgm:cxnLst>
    <dgm:cxn modelId="{073B2AF8-EFE7-4D98-AABD-F42E1C3D766A}" srcId="{12FB3902-6466-41E2-A4A2-8CED1490FA7A}" destId="{AC691534-3255-4A40-AE26-8AEA12E676F2}" srcOrd="3" destOrd="0" parTransId="{FDB7C76C-6FEC-4CE1-942C-DDDF99F69A93}" sibTransId="{200B11F8-17D9-4AB6-82CF-053975683122}"/>
    <dgm:cxn modelId="{A2967E61-7C77-4B1B-85E4-5EB90F744DB6}" srcId="{12FB3902-6466-41E2-A4A2-8CED1490FA7A}" destId="{522ECBA1-33AB-47E6-9DBE-CE641CBACB18}" srcOrd="0" destOrd="0" parTransId="{DC4FE836-F6AE-41A0-A192-362C50ED9926}" sibTransId="{869F4CA6-C8F3-4ADA-9042-E68D8F49C898}"/>
    <dgm:cxn modelId="{7F7AFEE6-C135-4B54-9C2D-C3CBD08C48BE}" type="presOf" srcId="{522ECBA1-33AB-47E6-9DBE-CE641CBACB18}" destId="{7C07EF6D-DA0C-4787-916C-3D01F04A4D9B}" srcOrd="0" destOrd="0" presId="urn:microsoft.com/office/officeart/2005/8/layout/vList3"/>
    <dgm:cxn modelId="{934EBADF-93C0-4C64-A1FA-DB847304AE2D}" type="presOf" srcId="{98ED2D76-2AD7-4CAD-815E-5D86A8899BE3}" destId="{E94FEC7B-84F4-4B40-9BD4-CCCDACED482D}" srcOrd="0" destOrd="0" presId="urn:microsoft.com/office/officeart/2005/8/layout/vList3"/>
    <dgm:cxn modelId="{1D8E6B47-4575-4ACA-ADF7-628A1B33945C}" srcId="{12FB3902-6466-41E2-A4A2-8CED1490FA7A}" destId="{CD4CD0AE-66D3-4E49-9634-5F0AF303D32F}" srcOrd="2" destOrd="0" parTransId="{AA8E0373-6A87-4964-A2B6-7EA1AA50F92F}" sibTransId="{0D8C3C28-47E1-4B5B-9467-3BB989B22FE4}"/>
    <dgm:cxn modelId="{B50B00B8-DD66-4534-9539-C64466EC7EAD}" srcId="{12FB3902-6466-41E2-A4A2-8CED1490FA7A}" destId="{98ED2D76-2AD7-4CAD-815E-5D86A8899BE3}" srcOrd="1" destOrd="0" parTransId="{69689409-6151-489C-941E-B7D1506B2A8D}" sibTransId="{A59C3A6C-2B12-4B50-B700-0D73B20A2151}"/>
    <dgm:cxn modelId="{2CB8C983-C389-4B20-AF4A-121CFFCFA287}" type="presOf" srcId="{12FB3902-6466-41E2-A4A2-8CED1490FA7A}" destId="{6B2DE6D6-A5B7-4E29-96C9-BE00536F5925}" srcOrd="0" destOrd="0" presId="urn:microsoft.com/office/officeart/2005/8/layout/vList3"/>
    <dgm:cxn modelId="{21D56016-7F54-477C-9866-42CD907826A8}" type="presOf" srcId="{CD4CD0AE-66D3-4E49-9634-5F0AF303D32F}" destId="{D5E3D500-A90B-42A3-8616-C7C7C11A2D6D}" srcOrd="0" destOrd="0" presId="urn:microsoft.com/office/officeart/2005/8/layout/vList3"/>
    <dgm:cxn modelId="{6598D08E-5956-42D9-AA35-BC9E01462B78}" type="presOf" srcId="{AC691534-3255-4A40-AE26-8AEA12E676F2}" destId="{0D8B4C4F-40EE-412F-A767-3AF3396A9266}" srcOrd="0" destOrd="0" presId="urn:microsoft.com/office/officeart/2005/8/layout/vList3"/>
    <dgm:cxn modelId="{DE5ECEB3-A3A0-400A-953E-4D6624A2B173}" type="presParOf" srcId="{6B2DE6D6-A5B7-4E29-96C9-BE00536F5925}" destId="{FC6425CF-A40D-4A3F-B2F9-85FD71B25CD4}" srcOrd="0" destOrd="0" presId="urn:microsoft.com/office/officeart/2005/8/layout/vList3"/>
    <dgm:cxn modelId="{DC7A5E8E-A581-44AB-ACEE-5722F0B5E7D8}" type="presParOf" srcId="{FC6425CF-A40D-4A3F-B2F9-85FD71B25CD4}" destId="{EE315A61-3E41-49CA-8B3C-58E16CE0FA2B}" srcOrd="0" destOrd="0" presId="urn:microsoft.com/office/officeart/2005/8/layout/vList3"/>
    <dgm:cxn modelId="{68A388E0-D8D5-47C9-9EB0-8D1E8E71AE23}" type="presParOf" srcId="{FC6425CF-A40D-4A3F-B2F9-85FD71B25CD4}" destId="{7C07EF6D-DA0C-4787-916C-3D01F04A4D9B}" srcOrd="1" destOrd="0" presId="urn:microsoft.com/office/officeart/2005/8/layout/vList3"/>
    <dgm:cxn modelId="{F6B4457C-069A-4EF5-9334-B493368F64BE}" type="presParOf" srcId="{6B2DE6D6-A5B7-4E29-96C9-BE00536F5925}" destId="{6368CC72-1326-4BCE-B8C4-37FC1DC71073}" srcOrd="1" destOrd="0" presId="urn:microsoft.com/office/officeart/2005/8/layout/vList3"/>
    <dgm:cxn modelId="{5C4ADE56-63A7-443E-9822-EEEA2F6719B2}" type="presParOf" srcId="{6B2DE6D6-A5B7-4E29-96C9-BE00536F5925}" destId="{0582A866-CB47-4CFB-B35C-C54B432E1779}" srcOrd="2" destOrd="0" presId="urn:microsoft.com/office/officeart/2005/8/layout/vList3"/>
    <dgm:cxn modelId="{FB3EB7BF-9D57-4226-9C6E-628E281A03B1}" type="presParOf" srcId="{0582A866-CB47-4CFB-B35C-C54B432E1779}" destId="{EEF56400-31DC-4393-9860-67A4E7F6ED3A}" srcOrd="0" destOrd="0" presId="urn:microsoft.com/office/officeart/2005/8/layout/vList3"/>
    <dgm:cxn modelId="{A07B52BC-FA8B-4EE0-B7E2-36BB781E225A}" type="presParOf" srcId="{0582A866-CB47-4CFB-B35C-C54B432E1779}" destId="{E94FEC7B-84F4-4B40-9BD4-CCCDACED482D}" srcOrd="1" destOrd="0" presId="urn:microsoft.com/office/officeart/2005/8/layout/vList3"/>
    <dgm:cxn modelId="{8BE8397B-D04E-4E8A-8A06-1C2DDBD03443}" type="presParOf" srcId="{6B2DE6D6-A5B7-4E29-96C9-BE00536F5925}" destId="{FA34006D-5C20-48C4-B367-44FDDD1776B3}" srcOrd="3" destOrd="0" presId="urn:microsoft.com/office/officeart/2005/8/layout/vList3"/>
    <dgm:cxn modelId="{2FA00418-1B46-4CB7-A4DC-0E5484D5924A}" type="presParOf" srcId="{6B2DE6D6-A5B7-4E29-96C9-BE00536F5925}" destId="{3591A463-82F2-4728-9DDD-4E5E8A049D53}" srcOrd="4" destOrd="0" presId="urn:microsoft.com/office/officeart/2005/8/layout/vList3"/>
    <dgm:cxn modelId="{6008A396-5636-4AB6-A21C-475BDA723C33}" type="presParOf" srcId="{3591A463-82F2-4728-9DDD-4E5E8A049D53}" destId="{72EA9B8F-A7E5-4632-893A-1113D1540D0E}" srcOrd="0" destOrd="0" presId="urn:microsoft.com/office/officeart/2005/8/layout/vList3"/>
    <dgm:cxn modelId="{E7E023C9-CA48-4575-AE0F-C5019B5C8BF1}" type="presParOf" srcId="{3591A463-82F2-4728-9DDD-4E5E8A049D53}" destId="{D5E3D500-A90B-42A3-8616-C7C7C11A2D6D}" srcOrd="1" destOrd="0" presId="urn:microsoft.com/office/officeart/2005/8/layout/vList3"/>
    <dgm:cxn modelId="{13F48AB5-7168-484E-9CFC-83C80251E1F8}" type="presParOf" srcId="{6B2DE6D6-A5B7-4E29-96C9-BE00536F5925}" destId="{03B3A3CF-890D-432E-AB31-9210AB478141}" srcOrd="5" destOrd="0" presId="urn:microsoft.com/office/officeart/2005/8/layout/vList3"/>
    <dgm:cxn modelId="{2B6E5A28-7AC7-430F-9F64-6B01E682AA15}" type="presParOf" srcId="{6B2DE6D6-A5B7-4E29-96C9-BE00536F5925}" destId="{CC74D204-0D96-44DE-8E1C-A8C21E162731}" srcOrd="6" destOrd="0" presId="urn:microsoft.com/office/officeart/2005/8/layout/vList3"/>
    <dgm:cxn modelId="{08B51DDF-7D61-49CB-BBF4-FC52DD8A7ABD}" type="presParOf" srcId="{CC74D204-0D96-44DE-8E1C-A8C21E162731}" destId="{3272588D-C336-4039-A026-58E54475A152}" srcOrd="0" destOrd="0" presId="urn:microsoft.com/office/officeart/2005/8/layout/vList3"/>
    <dgm:cxn modelId="{5A512E4F-6C75-42E5-989C-1D727F02DD87}" type="presParOf" srcId="{CC74D204-0D96-44DE-8E1C-A8C21E162731}" destId="{0D8B4C4F-40EE-412F-A767-3AF3396A9266}"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2AAEA09-104B-4DC0-9391-3430B4FE1D09}"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7CE5D7BC-C466-4FE7-A8FA-777D1C8297B6}">
      <dgm:prSet phldrT="[Text]"/>
      <dgm:spPr/>
      <dgm:t>
        <a:bodyPr/>
        <a:lstStyle/>
        <a:p>
          <a:r>
            <a:rPr lang="en-US" dirty="0" smtClean="0"/>
            <a:t>Pre-participation Physicals</a:t>
          </a:r>
          <a:endParaRPr lang="en-US" dirty="0"/>
        </a:p>
      </dgm:t>
    </dgm:pt>
    <dgm:pt modelId="{4D5E37E3-1B63-4ECC-A312-BF0BEEE96F01}" type="parTrans" cxnId="{7790BDE6-4ED1-4C2E-A93B-09B723A7015A}">
      <dgm:prSet/>
      <dgm:spPr/>
      <dgm:t>
        <a:bodyPr/>
        <a:lstStyle/>
        <a:p>
          <a:endParaRPr lang="en-US"/>
        </a:p>
      </dgm:t>
    </dgm:pt>
    <dgm:pt modelId="{0727C3BC-043A-4763-8B8A-2BAFBF2EE0B2}" type="sibTrans" cxnId="{7790BDE6-4ED1-4C2E-A93B-09B723A7015A}">
      <dgm:prSet/>
      <dgm:spPr/>
      <dgm:t>
        <a:bodyPr/>
        <a:lstStyle/>
        <a:p>
          <a:endParaRPr lang="en-US"/>
        </a:p>
      </dgm:t>
    </dgm:pt>
    <dgm:pt modelId="{783D4C3B-056C-4192-9E28-20F71CF77662}">
      <dgm:prSet phldrT="[Text]"/>
      <dgm:spPr/>
      <dgm:t>
        <a:bodyPr/>
        <a:lstStyle/>
        <a:p>
          <a:r>
            <a:rPr lang="en-US" dirty="0" smtClean="0"/>
            <a:t>Acclimatization</a:t>
          </a:r>
          <a:endParaRPr lang="en-US" dirty="0"/>
        </a:p>
      </dgm:t>
    </dgm:pt>
    <dgm:pt modelId="{7C3B200F-5FF1-4A36-9B7B-26DDA716D94D}" type="parTrans" cxnId="{E9CE0B86-1555-4FE9-86E9-DE6462969E0A}">
      <dgm:prSet/>
      <dgm:spPr/>
      <dgm:t>
        <a:bodyPr/>
        <a:lstStyle/>
        <a:p>
          <a:endParaRPr lang="en-US"/>
        </a:p>
      </dgm:t>
    </dgm:pt>
    <dgm:pt modelId="{FBDF070B-5834-46FC-9915-6EBC304450D2}" type="sibTrans" cxnId="{E9CE0B86-1555-4FE9-86E9-DE6462969E0A}">
      <dgm:prSet/>
      <dgm:spPr/>
      <dgm:t>
        <a:bodyPr/>
        <a:lstStyle/>
        <a:p>
          <a:endParaRPr lang="en-US"/>
        </a:p>
      </dgm:t>
    </dgm:pt>
    <dgm:pt modelId="{7E596E90-BF91-4B9F-987A-D25DB37C89BC}">
      <dgm:prSet phldrT="[Text]"/>
      <dgm:spPr/>
      <dgm:t>
        <a:bodyPr/>
        <a:lstStyle/>
        <a:p>
          <a:r>
            <a:rPr lang="en-US" dirty="0" smtClean="0"/>
            <a:t>Adjust Activity Levels</a:t>
          </a:r>
          <a:endParaRPr lang="en-US" dirty="0"/>
        </a:p>
      </dgm:t>
    </dgm:pt>
    <dgm:pt modelId="{B8D58E29-3F99-4783-B7DD-7EAEE9C88356}" type="parTrans" cxnId="{27AA6C87-4D64-4667-8AA8-9ABE80BF7187}">
      <dgm:prSet/>
      <dgm:spPr/>
      <dgm:t>
        <a:bodyPr/>
        <a:lstStyle/>
        <a:p>
          <a:endParaRPr lang="en-US"/>
        </a:p>
      </dgm:t>
    </dgm:pt>
    <dgm:pt modelId="{F313C4CF-2915-4924-AF0F-50CBFCF961F4}" type="sibTrans" cxnId="{27AA6C87-4D64-4667-8AA8-9ABE80BF7187}">
      <dgm:prSet/>
      <dgm:spPr/>
      <dgm:t>
        <a:bodyPr/>
        <a:lstStyle/>
        <a:p>
          <a:endParaRPr lang="en-US"/>
        </a:p>
      </dgm:t>
    </dgm:pt>
    <dgm:pt modelId="{18D18B16-17EB-4C3E-A3A3-2034CE8648BD}">
      <dgm:prSet phldrT="[Text]"/>
      <dgm:spPr/>
      <dgm:t>
        <a:bodyPr/>
        <a:lstStyle/>
        <a:p>
          <a:r>
            <a:rPr lang="en-US" dirty="0" smtClean="0"/>
            <a:t>Monitor Participants</a:t>
          </a:r>
          <a:endParaRPr lang="en-US" dirty="0"/>
        </a:p>
      </dgm:t>
    </dgm:pt>
    <dgm:pt modelId="{CF7A9075-243C-4CBE-B4F4-CB21C50E34E2}" type="parTrans" cxnId="{B3D52488-06C1-43F5-97CF-11DF4CA8612F}">
      <dgm:prSet/>
      <dgm:spPr/>
      <dgm:t>
        <a:bodyPr/>
        <a:lstStyle/>
        <a:p>
          <a:endParaRPr lang="en-US"/>
        </a:p>
      </dgm:t>
    </dgm:pt>
    <dgm:pt modelId="{FD3B421A-23FF-40E5-B40E-D6917414B604}" type="sibTrans" cxnId="{B3D52488-06C1-43F5-97CF-11DF4CA8612F}">
      <dgm:prSet/>
      <dgm:spPr/>
      <dgm:t>
        <a:bodyPr/>
        <a:lstStyle/>
        <a:p>
          <a:endParaRPr lang="en-US"/>
        </a:p>
      </dgm:t>
    </dgm:pt>
    <dgm:pt modelId="{75481D66-87E2-49E8-A7F6-C7C5614B34B6}">
      <dgm:prSet phldrT="[Text]"/>
      <dgm:spPr/>
      <dgm:t>
        <a:bodyPr/>
        <a:lstStyle/>
        <a:p>
          <a:r>
            <a:rPr lang="en-US" dirty="0" smtClean="0"/>
            <a:t>Clothing &amp; Equipment</a:t>
          </a:r>
          <a:endParaRPr lang="en-US" dirty="0"/>
        </a:p>
      </dgm:t>
    </dgm:pt>
    <dgm:pt modelId="{AE7ECDF5-B2CD-435A-8BD8-E2D4C05E72BE}" type="parTrans" cxnId="{87200EC1-4826-415C-B578-33A13F72698C}">
      <dgm:prSet/>
      <dgm:spPr/>
      <dgm:t>
        <a:bodyPr/>
        <a:lstStyle/>
        <a:p>
          <a:endParaRPr lang="en-US"/>
        </a:p>
      </dgm:t>
    </dgm:pt>
    <dgm:pt modelId="{4CDE07D0-6B6B-441F-90E4-1AD213BE64CB}" type="sibTrans" cxnId="{87200EC1-4826-415C-B578-33A13F72698C}">
      <dgm:prSet/>
      <dgm:spPr/>
      <dgm:t>
        <a:bodyPr/>
        <a:lstStyle/>
        <a:p>
          <a:endParaRPr lang="en-US"/>
        </a:p>
      </dgm:t>
    </dgm:pt>
    <dgm:pt modelId="{80C72675-EEDB-4B66-A693-1C3C18D42FBC}">
      <dgm:prSet/>
      <dgm:spPr/>
      <dgm:t>
        <a:bodyPr/>
        <a:lstStyle/>
        <a:p>
          <a:r>
            <a:rPr lang="en-US" dirty="0" smtClean="0"/>
            <a:t>Monitor Environmental Conditions</a:t>
          </a:r>
          <a:endParaRPr lang="en-US" dirty="0"/>
        </a:p>
      </dgm:t>
    </dgm:pt>
    <dgm:pt modelId="{261975A2-9ADF-48F8-9914-FC31E8E62C53}" type="parTrans" cxnId="{639E2BB2-C867-4479-8364-9EA43D8DDC75}">
      <dgm:prSet/>
      <dgm:spPr/>
      <dgm:t>
        <a:bodyPr/>
        <a:lstStyle/>
        <a:p>
          <a:endParaRPr lang="en-US"/>
        </a:p>
      </dgm:t>
    </dgm:pt>
    <dgm:pt modelId="{0D2CE6F3-FA5D-4A8C-AA4F-52580241ED0E}" type="sibTrans" cxnId="{639E2BB2-C867-4479-8364-9EA43D8DDC75}">
      <dgm:prSet/>
      <dgm:spPr/>
      <dgm:t>
        <a:bodyPr/>
        <a:lstStyle/>
        <a:p>
          <a:endParaRPr lang="en-US"/>
        </a:p>
      </dgm:t>
    </dgm:pt>
    <dgm:pt modelId="{C224F547-C198-4B15-B63C-5F0C80BE13D8}">
      <dgm:prSet/>
      <dgm:spPr/>
      <dgm:t>
        <a:bodyPr/>
        <a:lstStyle/>
        <a:p>
          <a:r>
            <a:rPr lang="en-US" dirty="0" smtClean="0"/>
            <a:t>Hydration</a:t>
          </a:r>
          <a:endParaRPr lang="en-US" dirty="0"/>
        </a:p>
      </dgm:t>
    </dgm:pt>
    <dgm:pt modelId="{C7A3B001-7A7C-4DA6-83C5-BFA9AD8432BE}" type="parTrans" cxnId="{C2E74416-FC01-4239-B313-DBECFF4BA832}">
      <dgm:prSet/>
      <dgm:spPr/>
      <dgm:t>
        <a:bodyPr/>
        <a:lstStyle/>
        <a:p>
          <a:endParaRPr lang="en-US"/>
        </a:p>
      </dgm:t>
    </dgm:pt>
    <dgm:pt modelId="{E5392766-0C98-4429-9C37-555EEC67E417}" type="sibTrans" cxnId="{C2E74416-FC01-4239-B313-DBECFF4BA832}">
      <dgm:prSet/>
      <dgm:spPr/>
      <dgm:t>
        <a:bodyPr/>
        <a:lstStyle/>
        <a:p>
          <a:endParaRPr lang="en-US"/>
        </a:p>
      </dgm:t>
    </dgm:pt>
    <dgm:pt modelId="{DA23B3A3-A385-4F08-9740-C3D44E143E35}">
      <dgm:prSet/>
      <dgm:spPr/>
      <dgm:t>
        <a:bodyPr/>
        <a:lstStyle/>
        <a:p>
          <a:r>
            <a:rPr lang="en-US" dirty="0" smtClean="0"/>
            <a:t>Identify at Risk Participants</a:t>
          </a:r>
          <a:endParaRPr lang="en-US" dirty="0"/>
        </a:p>
      </dgm:t>
    </dgm:pt>
    <dgm:pt modelId="{05AD9428-4262-46C4-8F9E-C96239609740}" type="parTrans" cxnId="{0A14BC8D-533D-4B41-A236-066B4581BFE5}">
      <dgm:prSet/>
      <dgm:spPr/>
      <dgm:t>
        <a:bodyPr/>
        <a:lstStyle/>
        <a:p>
          <a:endParaRPr lang="en-US"/>
        </a:p>
      </dgm:t>
    </dgm:pt>
    <dgm:pt modelId="{F17632CC-F386-44F2-8CE1-C73FA68340DE}" type="sibTrans" cxnId="{0A14BC8D-533D-4B41-A236-066B4581BFE5}">
      <dgm:prSet/>
      <dgm:spPr/>
      <dgm:t>
        <a:bodyPr/>
        <a:lstStyle/>
        <a:p>
          <a:endParaRPr lang="en-US"/>
        </a:p>
      </dgm:t>
    </dgm:pt>
    <dgm:pt modelId="{544501B9-8CE5-454A-BC2E-835E05EA9554}">
      <dgm:prSet/>
      <dgm:spPr/>
      <dgm:t>
        <a:bodyPr/>
        <a:lstStyle/>
        <a:p>
          <a:r>
            <a:rPr lang="en-US" dirty="0" smtClean="0"/>
            <a:t>Emergency Action Plan</a:t>
          </a:r>
          <a:endParaRPr lang="en-US" dirty="0"/>
        </a:p>
      </dgm:t>
    </dgm:pt>
    <dgm:pt modelId="{A98F137F-AA18-446C-A74D-69D62AD195DD}" type="parTrans" cxnId="{86B2AB11-2F04-4754-BCA1-01DC1D51A77D}">
      <dgm:prSet/>
      <dgm:spPr/>
      <dgm:t>
        <a:bodyPr/>
        <a:lstStyle/>
        <a:p>
          <a:endParaRPr lang="en-US"/>
        </a:p>
      </dgm:t>
    </dgm:pt>
    <dgm:pt modelId="{77A983E8-98F0-490B-852E-CBDDDF1565AA}" type="sibTrans" cxnId="{86B2AB11-2F04-4754-BCA1-01DC1D51A77D}">
      <dgm:prSet/>
      <dgm:spPr/>
      <dgm:t>
        <a:bodyPr/>
        <a:lstStyle/>
        <a:p>
          <a:endParaRPr lang="en-US"/>
        </a:p>
      </dgm:t>
    </dgm:pt>
    <dgm:pt modelId="{B0C1B70D-1470-41CD-91B2-F48384CC83A2}" type="pres">
      <dgm:prSet presAssocID="{B2AAEA09-104B-4DC0-9391-3430B4FE1D09}" presName="diagram" presStyleCnt="0">
        <dgm:presLayoutVars>
          <dgm:dir/>
          <dgm:resizeHandles val="exact"/>
        </dgm:presLayoutVars>
      </dgm:prSet>
      <dgm:spPr/>
      <dgm:t>
        <a:bodyPr/>
        <a:lstStyle/>
        <a:p>
          <a:endParaRPr lang="en-US"/>
        </a:p>
      </dgm:t>
    </dgm:pt>
    <dgm:pt modelId="{19054B00-1CC9-4BC3-8304-CBDC0063D230}" type="pres">
      <dgm:prSet presAssocID="{7CE5D7BC-C466-4FE7-A8FA-777D1C8297B6}" presName="node" presStyleLbl="node1" presStyleIdx="0" presStyleCnt="9">
        <dgm:presLayoutVars>
          <dgm:bulletEnabled val="1"/>
        </dgm:presLayoutVars>
      </dgm:prSet>
      <dgm:spPr/>
      <dgm:t>
        <a:bodyPr/>
        <a:lstStyle/>
        <a:p>
          <a:endParaRPr lang="en-US"/>
        </a:p>
      </dgm:t>
    </dgm:pt>
    <dgm:pt modelId="{C7A2B868-2E5B-4049-B57B-984DDBC2447F}" type="pres">
      <dgm:prSet presAssocID="{0727C3BC-043A-4763-8B8A-2BAFBF2EE0B2}" presName="sibTrans" presStyleCnt="0"/>
      <dgm:spPr/>
    </dgm:pt>
    <dgm:pt modelId="{0E4EE46E-AE44-4E61-848E-05EECE37379B}" type="pres">
      <dgm:prSet presAssocID="{783D4C3B-056C-4192-9E28-20F71CF77662}" presName="node" presStyleLbl="node1" presStyleIdx="1" presStyleCnt="9">
        <dgm:presLayoutVars>
          <dgm:bulletEnabled val="1"/>
        </dgm:presLayoutVars>
      </dgm:prSet>
      <dgm:spPr/>
      <dgm:t>
        <a:bodyPr/>
        <a:lstStyle/>
        <a:p>
          <a:endParaRPr lang="en-US"/>
        </a:p>
      </dgm:t>
    </dgm:pt>
    <dgm:pt modelId="{6D5D85C5-82B0-4067-A6E7-C7CD270209E1}" type="pres">
      <dgm:prSet presAssocID="{FBDF070B-5834-46FC-9915-6EBC304450D2}" presName="sibTrans" presStyleCnt="0"/>
      <dgm:spPr/>
    </dgm:pt>
    <dgm:pt modelId="{B971D3D2-738E-4AB6-AB1D-A0BBB56FB244}" type="pres">
      <dgm:prSet presAssocID="{80C72675-EEDB-4B66-A693-1C3C18D42FBC}" presName="node" presStyleLbl="node1" presStyleIdx="2" presStyleCnt="9">
        <dgm:presLayoutVars>
          <dgm:bulletEnabled val="1"/>
        </dgm:presLayoutVars>
      </dgm:prSet>
      <dgm:spPr/>
      <dgm:t>
        <a:bodyPr/>
        <a:lstStyle/>
        <a:p>
          <a:endParaRPr lang="en-US"/>
        </a:p>
      </dgm:t>
    </dgm:pt>
    <dgm:pt modelId="{0AECD393-9150-4A22-90B5-FC9A0425699E}" type="pres">
      <dgm:prSet presAssocID="{0D2CE6F3-FA5D-4A8C-AA4F-52580241ED0E}" presName="sibTrans" presStyleCnt="0"/>
      <dgm:spPr/>
    </dgm:pt>
    <dgm:pt modelId="{BB01FEF4-09BD-4904-A7B2-433F054F4E76}" type="pres">
      <dgm:prSet presAssocID="{7E596E90-BF91-4B9F-987A-D25DB37C89BC}" presName="node" presStyleLbl="node1" presStyleIdx="3" presStyleCnt="9">
        <dgm:presLayoutVars>
          <dgm:bulletEnabled val="1"/>
        </dgm:presLayoutVars>
      </dgm:prSet>
      <dgm:spPr/>
      <dgm:t>
        <a:bodyPr/>
        <a:lstStyle/>
        <a:p>
          <a:endParaRPr lang="en-US"/>
        </a:p>
      </dgm:t>
    </dgm:pt>
    <dgm:pt modelId="{8F51007E-4754-4DE4-BA3F-AC996F636C7F}" type="pres">
      <dgm:prSet presAssocID="{F313C4CF-2915-4924-AF0F-50CBFCF961F4}" presName="sibTrans" presStyleCnt="0"/>
      <dgm:spPr/>
    </dgm:pt>
    <dgm:pt modelId="{B650A866-D1F2-4539-8EBE-24B029F0BB54}" type="pres">
      <dgm:prSet presAssocID="{C224F547-C198-4B15-B63C-5F0C80BE13D8}" presName="node" presStyleLbl="node1" presStyleIdx="4" presStyleCnt="9">
        <dgm:presLayoutVars>
          <dgm:bulletEnabled val="1"/>
        </dgm:presLayoutVars>
      </dgm:prSet>
      <dgm:spPr/>
      <dgm:t>
        <a:bodyPr/>
        <a:lstStyle/>
        <a:p>
          <a:endParaRPr lang="en-US"/>
        </a:p>
      </dgm:t>
    </dgm:pt>
    <dgm:pt modelId="{DB449E2C-E50C-43AB-A559-DA622D1EB7B4}" type="pres">
      <dgm:prSet presAssocID="{E5392766-0C98-4429-9C37-555EEC67E417}" presName="sibTrans" presStyleCnt="0"/>
      <dgm:spPr/>
    </dgm:pt>
    <dgm:pt modelId="{C4538281-BBA3-4C59-84AD-93EB8104937D}" type="pres">
      <dgm:prSet presAssocID="{18D18B16-17EB-4C3E-A3A3-2034CE8648BD}" presName="node" presStyleLbl="node1" presStyleIdx="5" presStyleCnt="9">
        <dgm:presLayoutVars>
          <dgm:bulletEnabled val="1"/>
        </dgm:presLayoutVars>
      </dgm:prSet>
      <dgm:spPr/>
      <dgm:t>
        <a:bodyPr/>
        <a:lstStyle/>
        <a:p>
          <a:endParaRPr lang="en-US"/>
        </a:p>
      </dgm:t>
    </dgm:pt>
    <dgm:pt modelId="{6A117FFC-FDC0-40B7-8935-9D79F3EA3A8D}" type="pres">
      <dgm:prSet presAssocID="{FD3B421A-23FF-40E5-B40E-D6917414B604}" presName="sibTrans" presStyleCnt="0"/>
      <dgm:spPr/>
    </dgm:pt>
    <dgm:pt modelId="{53215A37-5B05-4D23-AEAD-939D2C8EBCC8}" type="pres">
      <dgm:prSet presAssocID="{75481D66-87E2-49E8-A7F6-C7C5614B34B6}" presName="node" presStyleLbl="node1" presStyleIdx="6" presStyleCnt="9" custLinFactNeighborY="131">
        <dgm:presLayoutVars>
          <dgm:bulletEnabled val="1"/>
        </dgm:presLayoutVars>
      </dgm:prSet>
      <dgm:spPr/>
      <dgm:t>
        <a:bodyPr/>
        <a:lstStyle/>
        <a:p>
          <a:endParaRPr lang="en-US"/>
        </a:p>
      </dgm:t>
    </dgm:pt>
    <dgm:pt modelId="{B873E2ED-CAC0-4410-8859-FF7BE633807B}" type="pres">
      <dgm:prSet presAssocID="{4CDE07D0-6B6B-441F-90E4-1AD213BE64CB}" presName="sibTrans" presStyleCnt="0"/>
      <dgm:spPr/>
    </dgm:pt>
    <dgm:pt modelId="{DA51628A-DEFE-4C16-BC11-356D8581D12A}" type="pres">
      <dgm:prSet presAssocID="{DA23B3A3-A385-4F08-9740-C3D44E143E35}" presName="node" presStyleLbl="node1" presStyleIdx="7" presStyleCnt="9">
        <dgm:presLayoutVars>
          <dgm:bulletEnabled val="1"/>
        </dgm:presLayoutVars>
      </dgm:prSet>
      <dgm:spPr/>
      <dgm:t>
        <a:bodyPr/>
        <a:lstStyle/>
        <a:p>
          <a:endParaRPr lang="en-US"/>
        </a:p>
      </dgm:t>
    </dgm:pt>
    <dgm:pt modelId="{3F556EC7-8709-44CD-8D3C-996FDD06AF72}" type="pres">
      <dgm:prSet presAssocID="{F17632CC-F386-44F2-8CE1-C73FA68340DE}" presName="sibTrans" presStyleCnt="0"/>
      <dgm:spPr/>
    </dgm:pt>
    <dgm:pt modelId="{F9FAB722-A8F3-4416-8A60-BB9BD58F8F5A}" type="pres">
      <dgm:prSet presAssocID="{544501B9-8CE5-454A-BC2E-835E05EA9554}" presName="node" presStyleLbl="node1" presStyleIdx="8" presStyleCnt="9">
        <dgm:presLayoutVars>
          <dgm:bulletEnabled val="1"/>
        </dgm:presLayoutVars>
      </dgm:prSet>
      <dgm:spPr/>
      <dgm:t>
        <a:bodyPr/>
        <a:lstStyle/>
        <a:p>
          <a:endParaRPr lang="en-US"/>
        </a:p>
      </dgm:t>
    </dgm:pt>
  </dgm:ptLst>
  <dgm:cxnLst>
    <dgm:cxn modelId="{B3D52488-06C1-43F5-97CF-11DF4CA8612F}" srcId="{B2AAEA09-104B-4DC0-9391-3430B4FE1D09}" destId="{18D18B16-17EB-4C3E-A3A3-2034CE8648BD}" srcOrd="5" destOrd="0" parTransId="{CF7A9075-243C-4CBE-B4F4-CB21C50E34E2}" sibTransId="{FD3B421A-23FF-40E5-B40E-D6917414B604}"/>
    <dgm:cxn modelId="{DAA947E0-4F6D-475C-8F48-93C5A78B29F6}" type="presOf" srcId="{80C72675-EEDB-4B66-A693-1C3C18D42FBC}" destId="{B971D3D2-738E-4AB6-AB1D-A0BBB56FB244}" srcOrd="0" destOrd="0" presId="urn:microsoft.com/office/officeart/2005/8/layout/default"/>
    <dgm:cxn modelId="{86B2AB11-2F04-4754-BCA1-01DC1D51A77D}" srcId="{B2AAEA09-104B-4DC0-9391-3430B4FE1D09}" destId="{544501B9-8CE5-454A-BC2E-835E05EA9554}" srcOrd="8" destOrd="0" parTransId="{A98F137F-AA18-446C-A74D-69D62AD195DD}" sibTransId="{77A983E8-98F0-490B-852E-CBDDDF1565AA}"/>
    <dgm:cxn modelId="{24D45888-49BA-4AD4-946D-69D09BC8DC21}" type="presOf" srcId="{7CE5D7BC-C466-4FE7-A8FA-777D1C8297B6}" destId="{19054B00-1CC9-4BC3-8304-CBDC0063D230}" srcOrd="0" destOrd="0" presId="urn:microsoft.com/office/officeart/2005/8/layout/default"/>
    <dgm:cxn modelId="{CE7F7583-1BBC-4C6B-9602-538D69369458}" type="presOf" srcId="{75481D66-87E2-49E8-A7F6-C7C5614B34B6}" destId="{53215A37-5B05-4D23-AEAD-939D2C8EBCC8}" srcOrd="0" destOrd="0" presId="urn:microsoft.com/office/officeart/2005/8/layout/default"/>
    <dgm:cxn modelId="{47A2EEE6-93FC-4655-A13F-76CE31719EFB}" type="presOf" srcId="{C224F547-C198-4B15-B63C-5F0C80BE13D8}" destId="{B650A866-D1F2-4539-8EBE-24B029F0BB54}" srcOrd="0" destOrd="0" presId="urn:microsoft.com/office/officeart/2005/8/layout/default"/>
    <dgm:cxn modelId="{E9CE0B86-1555-4FE9-86E9-DE6462969E0A}" srcId="{B2AAEA09-104B-4DC0-9391-3430B4FE1D09}" destId="{783D4C3B-056C-4192-9E28-20F71CF77662}" srcOrd="1" destOrd="0" parTransId="{7C3B200F-5FF1-4A36-9B7B-26DDA716D94D}" sibTransId="{FBDF070B-5834-46FC-9915-6EBC304450D2}"/>
    <dgm:cxn modelId="{639E2BB2-C867-4479-8364-9EA43D8DDC75}" srcId="{B2AAEA09-104B-4DC0-9391-3430B4FE1D09}" destId="{80C72675-EEDB-4B66-A693-1C3C18D42FBC}" srcOrd="2" destOrd="0" parTransId="{261975A2-9ADF-48F8-9914-FC31E8E62C53}" sibTransId="{0D2CE6F3-FA5D-4A8C-AA4F-52580241ED0E}"/>
    <dgm:cxn modelId="{0A14BC8D-533D-4B41-A236-066B4581BFE5}" srcId="{B2AAEA09-104B-4DC0-9391-3430B4FE1D09}" destId="{DA23B3A3-A385-4F08-9740-C3D44E143E35}" srcOrd="7" destOrd="0" parTransId="{05AD9428-4262-46C4-8F9E-C96239609740}" sibTransId="{F17632CC-F386-44F2-8CE1-C73FA68340DE}"/>
    <dgm:cxn modelId="{CADD19FA-1F65-43C1-BA52-5B506EBC6325}" type="presOf" srcId="{7E596E90-BF91-4B9F-987A-D25DB37C89BC}" destId="{BB01FEF4-09BD-4904-A7B2-433F054F4E76}" srcOrd="0" destOrd="0" presId="urn:microsoft.com/office/officeart/2005/8/layout/default"/>
    <dgm:cxn modelId="{06AE0726-93C2-47D3-BF5E-072621E78EC3}" type="presOf" srcId="{B2AAEA09-104B-4DC0-9391-3430B4FE1D09}" destId="{B0C1B70D-1470-41CD-91B2-F48384CC83A2}" srcOrd="0" destOrd="0" presId="urn:microsoft.com/office/officeart/2005/8/layout/default"/>
    <dgm:cxn modelId="{27AA6C87-4D64-4667-8AA8-9ABE80BF7187}" srcId="{B2AAEA09-104B-4DC0-9391-3430B4FE1D09}" destId="{7E596E90-BF91-4B9F-987A-D25DB37C89BC}" srcOrd="3" destOrd="0" parTransId="{B8D58E29-3F99-4783-B7DD-7EAEE9C88356}" sibTransId="{F313C4CF-2915-4924-AF0F-50CBFCF961F4}"/>
    <dgm:cxn modelId="{A3B40B77-6D36-424D-AF71-487EF6325104}" type="presOf" srcId="{783D4C3B-056C-4192-9E28-20F71CF77662}" destId="{0E4EE46E-AE44-4E61-848E-05EECE37379B}" srcOrd="0" destOrd="0" presId="urn:microsoft.com/office/officeart/2005/8/layout/default"/>
    <dgm:cxn modelId="{87200EC1-4826-415C-B578-33A13F72698C}" srcId="{B2AAEA09-104B-4DC0-9391-3430B4FE1D09}" destId="{75481D66-87E2-49E8-A7F6-C7C5614B34B6}" srcOrd="6" destOrd="0" parTransId="{AE7ECDF5-B2CD-435A-8BD8-E2D4C05E72BE}" sibTransId="{4CDE07D0-6B6B-441F-90E4-1AD213BE64CB}"/>
    <dgm:cxn modelId="{4D6EA91D-CB66-4A37-9E38-D349ABAB23BA}" type="presOf" srcId="{18D18B16-17EB-4C3E-A3A3-2034CE8648BD}" destId="{C4538281-BBA3-4C59-84AD-93EB8104937D}" srcOrd="0" destOrd="0" presId="urn:microsoft.com/office/officeart/2005/8/layout/default"/>
    <dgm:cxn modelId="{C2E74416-FC01-4239-B313-DBECFF4BA832}" srcId="{B2AAEA09-104B-4DC0-9391-3430B4FE1D09}" destId="{C224F547-C198-4B15-B63C-5F0C80BE13D8}" srcOrd="4" destOrd="0" parTransId="{C7A3B001-7A7C-4DA6-83C5-BFA9AD8432BE}" sibTransId="{E5392766-0C98-4429-9C37-555EEC67E417}"/>
    <dgm:cxn modelId="{AF7EBBE4-2A2B-42D1-A271-4D364F010DB1}" type="presOf" srcId="{DA23B3A3-A385-4F08-9740-C3D44E143E35}" destId="{DA51628A-DEFE-4C16-BC11-356D8581D12A}" srcOrd="0" destOrd="0" presId="urn:microsoft.com/office/officeart/2005/8/layout/default"/>
    <dgm:cxn modelId="{9B79B373-CB3E-4249-A4E3-5214BEA88716}" type="presOf" srcId="{544501B9-8CE5-454A-BC2E-835E05EA9554}" destId="{F9FAB722-A8F3-4416-8A60-BB9BD58F8F5A}" srcOrd="0" destOrd="0" presId="urn:microsoft.com/office/officeart/2005/8/layout/default"/>
    <dgm:cxn modelId="{7790BDE6-4ED1-4C2E-A93B-09B723A7015A}" srcId="{B2AAEA09-104B-4DC0-9391-3430B4FE1D09}" destId="{7CE5D7BC-C466-4FE7-A8FA-777D1C8297B6}" srcOrd="0" destOrd="0" parTransId="{4D5E37E3-1B63-4ECC-A312-BF0BEEE96F01}" sibTransId="{0727C3BC-043A-4763-8B8A-2BAFBF2EE0B2}"/>
    <dgm:cxn modelId="{3AD73637-2BEB-46B3-9F9F-213A5CB781EF}" type="presParOf" srcId="{B0C1B70D-1470-41CD-91B2-F48384CC83A2}" destId="{19054B00-1CC9-4BC3-8304-CBDC0063D230}" srcOrd="0" destOrd="0" presId="urn:microsoft.com/office/officeart/2005/8/layout/default"/>
    <dgm:cxn modelId="{CF7885CC-20CA-4D84-80E2-B6778883FC02}" type="presParOf" srcId="{B0C1B70D-1470-41CD-91B2-F48384CC83A2}" destId="{C7A2B868-2E5B-4049-B57B-984DDBC2447F}" srcOrd="1" destOrd="0" presId="urn:microsoft.com/office/officeart/2005/8/layout/default"/>
    <dgm:cxn modelId="{E88412A4-C3BF-4C13-AAA8-0D37E8999067}" type="presParOf" srcId="{B0C1B70D-1470-41CD-91B2-F48384CC83A2}" destId="{0E4EE46E-AE44-4E61-848E-05EECE37379B}" srcOrd="2" destOrd="0" presId="urn:microsoft.com/office/officeart/2005/8/layout/default"/>
    <dgm:cxn modelId="{72CCEC7E-6A2C-468B-B320-40024D826431}" type="presParOf" srcId="{B0C1B70D-1470-41CD-91B2-F48384CC83A2}" destId="{6D5D85C5-82B0-4067-A6E7-C7CD270209E1}" srcOrd="3" destOrd="0" presId="urn:microsoft.com/office/officeart/2005/8/layout/default"/>
    <dgm:cxn modelId="{AF6B7E4C-06F5-4E14-B59F-3D3D3B8B9CA5}" type="presParOf" srcId="{B0C1B70D-1470-41CD-91B2-F48384CC83A2}" destId="{B971D3D2-738E-4AB6-AB1D-A0BBB56FB244}" srcOrd="4" destOrd="0" presId="urn:microsoft.com/office/officeart/2005/8/layout/default"/>
    <dgm:cxn modelId="{208AD989-1245-491B-81C0-26439EFFF06E}" type="presParOf" srcId="{B0C1B70D-1470-41CD-91B2-F48384CC83A2}" destId="{0AECD393-9150-4A22-90B5-FC9A0425699E}" srcOrd="5" destOrd="0" presId="urn:microsoft.com/office/officeart/2005/8/layout/default"/>
    <dgm:cxn modelId="{E2B1BBE4-812D-43DA-A023-EC76A8B10A7B}" type="presParOf" srcId="{B0C1B70D-1470-41CD-91B2-F48384CC83A2}" destId="{BB01FEF4-09BD-4904-A7B2-433F054F4E76}" srcOrd="6" destOrd="0" presId="urn:microsoft.com/office/officeart/2005/8/layout/default"/>
    <dgm:cxn modelId="{D1FBF74C-35E2-4F26-90E5-510877510A2C}" type="presParOf" srcId="{B0C1B70D-1470-41CD-91B2-F48384CC83A2}" destId="{8F51007E-4754-4DE4-BA3F-AC996F636C7F}" srcOrd="7" destOrd="0" presId="urn:microsoft.com/office/officeart/2005/8/layout/default"/>
    <dgm:cxn modelId="{8B6660ED-E84E-4EED-BFFC-52DAF9DA70C4}" type="presParOf" srcId="{B0C1B70D-1470-41CD-91B2-F48384CC83A2}" destId="{B650A866-D1F2-4539-8EBE-24B029F0BB54}" srcOrd="8" destOrd="0" presId="urn:microsoft.com/office/officeart/2005/8/layout/default"/>
    <dgm:cxn modelId="{CCF9E2EC-05A8-4378-99B1-8DE6F73602DE}" type="presParOf" srcId="{B0C1B70D-1470-41CD-91B2-F48384CC83A2}" destId="{DB449E2C-E50C-43AB-A559-DA622D1EB7B4}" srcOrd="9" destOrd="0" presId="urn:microsoft.com/office/officeart/2005/8/layout/default"/>
    <dgm:cxn modelId="{8F29A079-8D27-4175-A428-48786EFB18C0}" type="presParOf" srcId="{B0C1B70D-1470-41CD-91B2-F48384CC83A2}" destId="{C4538281-BBA3-4C59-84AD-93EB8104937D}" srcOrd="10" destOrd="0" presId="urn:microsoft.com/office/officeart/2005/8/layout/default"/>
    <dgm:cxn modelId="{86189B65-1C1D-46E2-B98D-39E734EEA930}" type="presParOf" srcId="{B0C1B70D-1470-41CD-91B2-F48384CC83A2}" destId="{6A117FFC-FDC0-40B7-8935-9D79F3EA3A8D}" srcOrd="11" destOrd="0" presId="urn:microsoft.com/office/officeart/2005/8/layout/default"/>
    <dgm:cxn modelId="{37EDDB73-3058-4CE4-88AB-3F49A70DCA22}" type="presParOf" srcId="{B0C1B70D-1470-41CD-91B2-F48384CC83A2}" destId="{53215A37-5B05-4D23-AEAD-939D2C8EBCC8}" srcOrd="12" destOrd="0" presId="urn:microsoft.com/office/officeart/2005/8/layout/default"/>
    <dgm:cxn modelId="{440AF80D-3BAE-4935-9D35-16AF7F8F5A9D}" type="presParOf" srcId="{B0C1B70D-1470-41CD-91B2-F48384CC83A2}" destId="{B873E2ED-CAC0-4410-8859-FF7BE633807B}" srcOrd="13" destOrd="0" presId="urn:microsoft.com/office/officeart/2005/8/layout/default"/>
    <dgm:cxn modelId="{3E8CDB50-4ADC-4102-BB4B-1CCFF7EA15EE}" type="presParOf" srcId="{B0C1B70D-1470-41CD-91B2-F48384CC83A2}" destId="{DA51628A-DEFE-4C16-BC11-356D8581D12A}" srcOrd="14" destOrd="0" presId="urn:microsoft.com/office/officeart/2005/8/layout/default"/>
    <dgm:cxn modelId="{06C6B28D-25BA-4E85-989A-3751773E7DCF}" type="presParOf" srcId="{B0C1B70D-1470-41CD-91B2-F48384CC83A2}" destId="{3F556EC7-8709-44CD-8D3C-996FDD06AF72}" srcOrd="15" destOrd="0" presId="urn:microsoft.com/office/officeart/2005/8/layout/default"/>
    <dgm:cxn modelId="{D88794AC-BF7B-45E7-AA0E-2DB262169878}" type="presParOf" srcId="{B0C1B70D-1470-41CD-91B2-F48384CC83A2}" destId="{F9FAB722-A8F3-4416-8A60-BB9BD58F8F5A}" srcOrd="1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CF94C0-3C24-4EBC-9B86-1223E849A8EF}">
      <dsp:nvSpPr>
        <dsp:cNvPr id="0" name=""/>
        <dsp:cNvSpPr/>
      </dsp:nvSpPr>
      <dsp:spPr>
        <a:xfrm>
          <a:off x="0" y="383282"/>
          <a:ext cx="9294359" cy="5544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B35379C-00D4-422F-A20A-BFE8B788C596}">
      <dsp:nvSpPr>
        <dsp:cNvPr id="0" name=""/>
        <dsp:cNvSpPr/>
      </dsp:nvSpPr>
      <dsp:spPr>
        <a:xfrm>
          <a:off x="464717" y="58562"/>
          <a:ext cx="6506051" cy="6494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5913" tIns="0" rIns="245913" bIns="0" numCol="1" spcCol="1270" anchor="ctr" anchorCtr="0">
          <a:noAutofit/>
        </a:bodyPr>
        <a:lstStyle/>
        <a:p>
          <a:pPr lvl="0" algn="l" defTabSz="977900">
            <a:lnSpc>
              <a:spcPct val="90000"/>
            </a:lnSpc>
            <a:spcBef>
              <a:spcPct val="0"/>
            </a:spcBef>
            <a:spcAft>
              <a:spcPct val="35000"/>
            </a:spcAft>
          </a:pPr>
          <a:r>
            <a:rPr lang="en-US" sz="2200" kern="1200" dirty="0" smtClean="0"/>
            <a:t>Higher Ed Cases</a:t>
          </a:r>
          <a:endParaRPr lang="en-US" sz="2200" kern="1200" dirty="0"/>
        </a:p>
      </dsp:txBody>
      <dsp:txXfrm>
        <a:off x="496420" y="90265"/>
        <a:ext cx="6442645" cy="586034"/>
      </dsp:txXfrm>
    </dsp:sp>
    <dsp:sp modelId="{E632821A-F24F-4F70-AF82-494EF4BCA46D}">
      <dsp:nvSpPr>
        <dsp:cNvPr id="0" name=""/>
        <dsp:cNvSpPr/>
      </dsp:nvSpPr>
      <dsp:spPr>
        <a:xfrm>
          <a:off x="0" y="1381202"/>
          <a:ext cx="9294359" cy="5544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4AA7246-90C1-4DF2-AB07-7CCB31C3B611}">
      <dsp:nvSpPr>
        <dsp:cNvPr id="0" name=""/>
        <dsp:cNvSpPr/>
      </dsp:nvSpPr>
      <dsp:spPr>
        <a:xfrm>
          <a:off x="464717" y="1056482"/>
          <a:ext cx="6506051" cy="6494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5913" tIns="0" rIns="245913" bIns="0" numCol="1" spcCol="1270" anchor="ctr" anchorCtr="0">
          <a:noAutofit/>
        </a:bodyPr>
        <a:lstStyle/>
        <a:p>
          <a:pPr lvl="0" algn="l" defTabSz="977900">
            <a:lnSpc>
              <a:spcPct val="90000"/>
            </a:lnSpc>
            <a:spcBef>
              <a:spcPct val="0"/>
            </a:spcBef>
            <a:spcAft>
              <a:spcPct val="35000"/>
            </a:spcAft>
          </a:pPr>
          <a:r>
            <a:rPr lang="en-US" sz="2200" kern="1200" dirty="0" smtClean="0"/>
            <a:t>Heat Basics</a:t>
          </a:r>
          <a:endParaRPr lang="en-US" sz="2200" kern="1200" dirty="0"/>
        </a:p>
      </dsp:txBody>
      <dsp:txXfrm>
        <a:off x="496420" y="1088185"/>
        <a:ext cx="6442645" cy="586034"/>
      </dsp:txXfrm>
    </dsp:sp>
    <dsp:sp modelId="{44ACBB67-B6A7-472B-8A5A-83DE457D2E67}">
      <dsp:nvSpPr>
        <dsp:cNvPr id="0" name=""/>
        <dsp:cNvSpPr/>
      </dsp:nvSpPr>
      <dsp:spPr>
        <a:xfrm>
          <a:off x="0" y="2379122"/>
          <a:ext cx="9294359" cy="5544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79333B-8FDB-4758-AB74-D6B0A3BE3D29}">
      <dsp:nvSpPr>
        <dsp:cNvPr id="0" name=""/>
        <dsp:cNvSpPr/>
      </dsp:nvSpPr>
      <dsp:spPr>
        <a:xfrm>
          <a:off x="464717" y="2054402"/>
          <a:ext cx="6506051" cy="6494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5913" tIns="0" rIns="245913" bIns="0" numCol="1" spcCol="1270" anchor="ctr" anchorCtr="0">
          <a:noAutofit/>
        </a:bodyPr>
        <a:lstStyle/>
        <a:p>
          <a:pPr lvl="0" algn="l" defTabSz="977900">
            <a:lnSpc>
              <a:spcPct val="90000"/>
            </a:lnSpc>
            <a:spcBef>
              <a:spcPct val="0"/>
            </a:spcBef>
            <a:spcAft>
              <a:spcPct val="35000"/>
            </a:spcAft>
          </a:pPr>
          <a:r>
            <a:rPr lang="en-US" sz="2200" kern="1200" dirty="0" smtClean="0"/>
            <a:t>At Risk Groups &amp; Activities </a:t>
          </a:r>
          <a:endParaRPr lang="en-US" sz="2200" kern="1200" dirty="0"/>
        </a:p>
      </dsp:txBody>
      <dsp:txXfrm>
        <a:off x="496420" y="2086105"/>
        <a:ext cx="6442645" cy="586034"/>
      </dsp:txXfrm>
    </dsp:sp>
    <dsp:sp modelId="{165210B6-48A5-469E-96AA-912688BAC647}">
      <dsp:nvSpPr>
        <dsp:cNvPr id="0" name=""/>
        <dsp:cNvSpPr/>
      </dsp:nvSpPr>
      <dsp:spPr>
        <a:xfrm>
          <a:off x="0" y="3377042"/>
          <a:ext cx="9294359" cy="5544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2C4C70B-055B-4E7F-AF94-5B1E913C9210}">
      <dsp:nvSpPr>
        <dsp:cNvPr id="0" name=""/>
        <dsp:cNvSpPr/>
      </dsp:nvSpPr>
      <dsp:spPr>
        <a:xfrm>
          <a:off x="464717" y="3052322"/>
          <a:ext cx="6506051" cy="6494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5913" tIns="0" rIns="245913" bIns="0" numCol="1" spcCol="1270" anchor="ctr" anchorCtr="0">
          <a:noAutofit/>
        </a:bodyPr>
        <a:lstStyle/>
        <a:p>
          <a:pPr lvl="0" algn="l" defTabSz="977900">
            <a:lnSpc>
              <a:spcPct val="90000"/>
            </a:lnSpc>
            <a:spcBef>
              <a:spcPct val="0"/>
            </a:spcBef>
            <a:spcAft>
              <a:spcPct val="35000"/>
            </a:spcAft>
          </a:pPr>
          <a:r>
            <a:rPr lang="en-US" sz="2200" kern="1200" dirty="0" smtClean="0"/>
            <a:t>Preparation</a:t>
          </a:r>
          <a:endParaRPr lang="en-US" sz="2200" kern="1200" dirty="0"/>
        </a:p>
      </dsp:txBody>
      <dsp:txXfrm>
        <a:off x="496420" y="3084025"/>
        <a:ext cx="6442645" cy="586034"/>
      </dsp:txXfrm>
    </dsp:sp>
    <dsp:sp modelId="{67C4DCAC-226C-4FC5-92DA-092B92B86A31}">
      <dsp:nvSpPr>
        <dsp:cNvPr id="0" name=""/>
        <dsp:cNvSpPr/>
      </dsp:nvSpPr>
      <dsp:spPr>
        <a:xfrm>
          <a:off x="0" y="4374962"/>
          <a:ext cx="9294359" cy="5544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D6AA04F-3E47-46BF-996D-41633F9C559A}">
      <dsp:nvSpPr>
        <dsp:cNvPr id="0" name=""/>
        <dsp:cNvSpPr/>
      </dsp:nvSpPr>
      <dsp:spPr>
        <a:xfrm>
          <a:off x="464717" y="4050242"/>
          <a:ext cx="6506051" cy="6494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5913" tIns="0" rIns="245913" bIns="0" numCol="1" spcCol="1270" anchor="ctr" anchorCtr="0">
          <a:noAutofit/>
        </a:bodyPr>
        <a:lstStyle/>
        <a:p>
          <a:pPr lvl="0" algn="l" defTabSz="977900">
            <a:lnSpc>
              <a:spcPct val="90000"/>
            </a:lnSpc>
            <a:spcBef>
              <a:spcPct val="0"/>
            </a:spcBef>
            <a:spcAft>
              <a:spcPct val="35000"/>
            </a:spcAft>
          </a:pPr>
          <a:r>
            <a:rPr lang="en-US" sz="2200" kern="1200" dirty="0" smtClean="0"/>
            <a:t>Next Steps</a:t>
          </a:r>
          <a:endParaRPr lang="en-US" sz="2200" kern="1200" dirty="0"/>
        </a:p>
      </dsp:txBody>
      <dsp:txXfrm>
        <a:off x="496420" y="4081945"/>
        <a:ext cx="6442645" cy="5860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07EF6D-DA0C-4787-916C-3D01F04A4D9B}">
      <dsp:nvSpPr>
        <dsp:cNvPr id="0" name=""/>
        <dsp:cNvSpPr/>
      </dsp:nvSpPr>
      <dsp:spPr>
        <a:xfrm rot="10800000">
          <a:off x="695746" y="2499"/>
          <a:ext cx="9186721" cy="975902"/>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0346" tIns="106680" rIns="199136" bIns="106680" numCol="1" spcCol="1270" anchor="ctr" anchorCtr="0">
          <a:noAutofit/>
        </a:bodyPr>
        <a:lstStyle/>
        <a:p>
          <a:pPr lvl="0" algn="l" defTabSz="1244600">
            <a:lnSpc>
              <a:spcPct val="90000"/>
            </a:lnSpc>
            <a:spcBef>
              <a:spcPct val="0"/>
            </a:spcBef>
            <a:spcAft>
              <a:spcPct val="35000"/>
            </a:spcAft>
          </a:pPr>
          <a:r>
            <a:rPr lang="en-US" sz="2800" kern="1200" dirty="0" smtClean="0"/>
            <a:t>Athletics conditioning, practices and games</a:t>
          </a:r>
          <a:endParaRPr lang="en-US" sz="2800" kern="1200" dirty="0"/>
        </a:p>
      </dsp:txBody>
      <dsp:txXfrm rot="10800000">
        <a:off x="939721" y="2499"/>
        <a:ext cx="8942746" cy="975902"/>
      </dsp:txXfrm>
    </dsp:sp>
    <dsp:sp modelId="{EE315A61-3E41-49CA-8B3C-58E16CE0FA2B}">
      <dsp:nvSpPr>
        <dsp:cNvPr id="0" name=""/>
        <dsp:cNvSpPr/>
      </dsp:nvSpPr>
      <dsp:spPr>
        <a:xfrm>
          <a:off x="272523" y="2499"/>
          <a:ext cx="975902" cy="975902"/>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94FEC7B-84F4-4B40-9BD4-CCCDACED482D}">
      <dsp:nvSpPr>
        <dsp:cNvPr id="0" name=""/>
        <dsp:cNvSpPr/>
      </dsp:nvSpPr>
      <dsp:spPr>
        <a:xfrm rot="10800000">
          <a:off x="777030" y="1202817"/>
          <a:ext cx="9162170" cy="975902"/>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0346" tIns="106680" rIns="199136" bIns="106680" numCol="1" spcCol="1270" anchor="ctr" anchorCtr="0">
          <a:noAutofit/>
        </a:bodyPr>
        <a:lstStyle/>
        <a:p>
          <a:pPr lvl="0" algn="l" defTabSz="1244600">
            <a:lnSpc>
              <a:spcPct val="90000"/>
            </a:lnSpc>
            <a:spcBef>
              <a:spcPct val="0"/>
            </a:spcBef>
            <a:spcAft>
              <a:spcPct val="35000"/>
            </a:spcAft>
          </a:pPr>
          <a:r>
            <a:rPr lang="en-US" sz="2800" kern="1200" baseline="0" dirty="0" smtClean="0"/>
            <a:t>Club and </a:t>
          </a:r>
          <a:r>
            <a:rPr lang="en-US" sz="2800" kern="1200" baseline="0" dirty="0" smtClean="0"/>
            <a:t>intramural </a:t>
          </a:r>
          <a:r>
            <a:rPr lang="en-US" sz="2800" kern="1200" baseline="0" dirty="0" smtClean="0"/>
            <a:t>activities</a:t>
          </a:r>
          <a:endParaRPr lang="en-US" sz="2800" kern="1200" dirty="0"/>
        </a:p>
      </dsp:txBody>
      <dsp:txXfrm rot="10800000">
        <a:off x="1021005" y="1202817"/>
        <a:ext cx="8918195" cy="975902"/>
      </dsp:txXfrm>
    </dsp:sp>
    <dsp:sp modelId="{EEF56400-31DC-4393-9860-67A4E7F6ED3A}">
      <dsp:nvSpPr>
        <dsp:cNvPr id="0" name=""/>
        <dsp:cNvSpPr/>
      </dsp:nvSpPr>
      <dsp:spPr>
        <a:xfrm>
          <a:off x="289865" y="1295186"/>
          <a:ext cx="975902" cy="975902"/>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9000" r="-9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5E3D500-A90B-42A3-8616-C7C7C11A2D6D}">
      <dsp:nvSpPr>
        <dsp:cNvPr id="0" name=""/>
        <dsp:cNvSpPr/>
      </dsp:nvSpPr>
      <dsp:spPr>
        <a:xfrm rot="10800000">
          <a:off x="708021" y="2537742"/>
          <a:ext cx="9162170" cy="975902"/>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0346" tIns="106680" rIns="199136" bIns="106680" numCol="1" spcCol="1270" anchor="ctr" anchorCtr="0">
          <a:noAutofit/>
        </a:bodyPr>
        <a:lstStyle/>
        <a:p>
          <a:pPr lvl="0" algn="l" defTabSz="1244600">
            <a:lnSpc>
              <a:spcPct val="90000"/>
            </a:lnSpc>
            <a:spcBef>
              <a:spcPct val="0"/>
            </a:spcBef>
            <a:spcAft>
              <a:spcPct val="35000"/>
            </a:spcAft>
          </a:pPr>
          <a:r>
            <a:rPr lang="en-US" sz="2800" kern="1200" dirty="0" smtClean="0"/>
            <a:t>Classroom work that is normally lecture and labs but goes outdoors for additional activities</a:t>
          </a:r>
          <a:endParaRPr lang="en-US" sz="2800" kern="1200" dirty="0"/>
        </a:p>
      </dsp:txBody>
      <dsp:txXfrm rot="10800000">
        <a:off x="951996" y="2537742"/>
        <a:ext cx="8918195" cy="975902"/>
      </dsp:txXfrm>
    </dsp:sp>
    <dsp:sp modelId="{72EA9B8F-A7E5-4632-893A-1113D1540D0E}">
      <dsp:nvSpPr>
        <dsp:cNvPr id="0" name=""/>
        <dsp:cNvSpPr/>
      </dsp:nvSpPr>
      <dsp:spPr>
        <a:xfrm>
          <a:off x="280418" y="2537742"/>
          <a:ext cx="975902" cy="975902"/>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D8B4C4F-40EE-412F-A767-3AF3396A9266}">
      <dsp:nvSpPr>
        <dsp:cNvPr id="0" name=""/>
        <dsp:cNvSpPr/>
      </dsp:nvSpPr>
      <dsp:spPr>
        <a:xfrm rot="10800000">
          <a:off x="708021" y="3804958"/>
          <a:ext cx="9162170" cy="975902"/>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0346" tIns="106680" rIns="199136" bIns="106680" numCol="1" spcCol="1270" anchor="ctr" anchorCtr="0">
          <a:noAutofit/>
        </a:bodyPr>
        <a:lstStyle/>
        <a:p>
          <a:pPr lvl="0" algn="l" defTabSz="1244600">
            <a:lnSpc>
              <a:spcPct val="90000"/>
            </a:lnSpc>
            <a:spcBef>
              <a:spcPct val="0"/>
            </a:spcBef>
            <a:spcAft>
              <a:spcPct val="35000"/>
            </a:spcAft>
          </a:pPr>
          <a:r>
            <a:rPr lang="en-US" sz="2800" kern="1200" baseline="0" dirty="0" smtClean="0"/>
            <a:t>Science fieldwork</a:t>
          </a:r>
          <a:endParaRPr lang="en-US" sz="2800" kern="1200" dirty="0" smtClean="0"/>
        </a:p>
      </dsp:txBody>
      <dsp:txXfrm rot="10800000">
        <a:off x="951996" y="3804958"/>
        <a:ext cx="8918195" cy="975902"/>
      </dsp:txXfrm>
    </dsp:sp>
    <dsp:sp modelId="{3272588D-C336-4039-A026-58E54475A152}">
      <dsp:nvSpPr>
        <dsp:cNvPr id="0" name=""/>
        <dsp:cNvSpPr/>
      </dsp:nvSpPr>
      <dsp:spPr>
        <a:xfrm>
          <a:off x="280447" y="3804958"/>
          <a:ext cx="975902" cy="975902"/>
        </a:xfrm>
        <a:prstGeom prst="ellipse">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054B00-1CC9-4BC3-8304-CBDC0063D230}">
      <dsp:nvSpPr>
        <dsp:cNvPr id="0" name=""/>
        <dsp:cNvSpPr/>
      </dsp:nvSpPr>
      <dsp:spPr>
        <a:xfrm>
          <a:off x="1079096" y="1994"/>
          <a:ext cx="2546747" cy="152804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2700" kern="1200" dirty="0" smtClean="0"/>
            <a:t>Pre-participation Physicals</a:t>
          </a:r>
          <a:endParaRPr lang="en-US" sz="2700" kern="1200" dirty="0"/>
        </a:p>
      </dsp:txBody>
      <dsp:txXfrm>
        <a:off x="1079096" y="1994"/>
        <a:ext cx="2546747" cy="1528048"/>
      </dsp:txXfrm>
    </dsp:sp>
    <dsp:sp modelId="{0E4EE46E-AE44-4E61-848E-05EECE37379B}">
      <dsp:nvSpPr>
        <dsp:cNvPr id="0" name=""/>
        <dsp:cNvSpPr/>
      </dsp:nvSpPr>
      <dsp:spPr>
        <a:xfrm>
          <a:off x="3880517" y="1994"/>
          <a:ext cx="2546747" cy="152804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2700" kern="1200" dirty="0" smtClean="0"/>
            <a:t>Acclimatization</a:t>
          </a:r>
          <a:endParaRPr lang="en-US" sz="2700" kern="1200" dirty="0"/>
        </a:p>
      </dsp:txBody>
      <dsp:txXfrm>
        <a:off x="3880517" y="1994"/>
        <a:ext cx="2546747" cy="1528048"/>
      </dsp:txXfrm>
    </dsp:sp>
    <dsp:sp modelId="{B971D3D2-738E-4AB6-AB1D-A0BBB56FB244}">
      <dsp:nvSpPr>
        <dsp:cNvPr id="0" name=""/>
        <dsp:cNvSpPr/>
      </dsp:nvSpPr>
      <dsp:spPr>
        <a:xfrm>
          <a:off x="6681939" y="1994"/>
          <a:ext cx="2546747" cy="152804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2700" kern="1200" dirty="0" smtClean="0"/>
            <a:t>Monitor Environmental Conditions</a:t>
          </a:r>
          <a:endParaRPr lang="en-US" sz="2700" kern="1200" dirty="0"/>
        </a:p>
      </dsp:txBody>
      <dsp:txXfrm>
        <a:off x="6681939" y="1994"/>
        <a:ext cx="2546747" cy="1528048"/>
      </dsp:txXfrm>
    </dsp:sp>
    <dsp:sp modelId="{BB01FEF4-09BD-4904-A7B2-433F054F4E76}">
      <dsp:nvSpPr>
        <dsp:cNvPr id="0" name=""/>
        <dsp:cNvSpPr/>
      </dsp:nvSpPr>
      <dsp:spPr>
        <a:xfrm>
          <a:off x="1079096" y="1784717"/>
          <a:ext cx="2546747" cy="152804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2700" kern="1200" dirty="0" smtClean="0"/>
            <a:t>Adjust Activity Levels</a:t>
          </a:r>
          <a:endParaRPr lang="en-US" sz="2700" kern="1200" dirty="0"/>
        </a:p>
      </dsp:txBody>
      <dsp:txXfrm>
        <a:off x="1079096" y="1784717"/>
        <a:ext cx="2546747" cy="1528048"/>
      </dsp:txXfrm>
    </dsp:sp>
    <dsp:sp modelId="{B650A866-D1F2-4539-8EBE-24B029F0BB54}">
      <dsp:nvSpPr>
        <dsp:cNvPr id="0" name=""/>
        <dsp:cNvSpPr/>
      </dsp:nvSpPr>
      <dsp:spPr>
        <a:xfrm>
          <a:off x="3880517" y="1784717"/>
          <a:ext cx="2546747" cy="152804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2700" kern="1200" dirty="0" smtClean="0"/>
            <a:t>Hydration</a:t>
          </a:r>
          <a:endParaRPr lang="en-US" sz="2700" kern="1200" dirty="0"/>
        </a:p>
      </dsp:txBody>
      <dsp:txXfrm>
        <a:off x="3880517" y="1784717"/>
        <a:ext cx="2546747" cy="1528048"/>
      </dsp:txXfrm>
    </dsp:sp>
    <dsp:sp modelId="{C4538281-BBA3-4C59-84AD-93EB8104937D}">
      <dsp:nvSpPr>
        <dsp:cNvPr id="0" name=""/>
        <dsp:cNvSpPr/>
      </dsp:nvSpPr>
      <dsp:spPr>
        <a:xfrm>
          <a:off x="6681939" y="1784717"/>
          <a:ext cx="2546747" cy="152804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2700" kern="1200" dirty="0" smtClean="0"/>
            <a:t>Monitor Participants</a:t>
          </a:r>
          <a:endParaRPr lang="en-US" sz="2700" kern="1200" dirty="0"/>
        </a:p>
      </dsp:txBody>
      <dsp:txXfrm>
        <a:off x="6681939" y="1784717"/>
        <a:ext cx="2546747" cy="1528048"/>
      </dsp:txXfrm>
    </dsp:sp>
    <dsp:sp modelId="{53215A37-5B05-4D23-AEAD-939D2C8EBCC8}">
      <dsp:nvSpPr>
        <dsp:cNvPr id="0" name=""/>
        <dsp:cNvSpPr/>
      </dsp:nvSpPr>
      <dsp:spPr>
        <a:xfrm>
          <a:off x="1079096" y="3569434"/>
          <a:ext cx="2546747" cy="152804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2700" kern="1200" dirty="0" smtClean="0"/>
            <a:t>Clothing &amp; Equipment</a:t>
          </a:r>
          <a:endParaRPr lang="en-US" sz="2700" kern="1200" dirty="0"/>
        </a:p>
      </dsp:txBody>
      <dsp:txXfrm>
        <a:off x="1079096" y="3569434"/>
        <a:ext cx="2546747" cy="1528048"/>
      </dsp:txXfrm>
    </dsp:sp>
    <dsp:sp modelId="{DA51628A-DEFE-4C16-BC11-356D8581D12A}">
      <dsp:nvSpPr>
        <dsp:cNvPr id="0" name=""/>
        <dsp:cNvSpPr/>
      </dsp:nvSpPr>
      <dsp:spPr>
        <a:xfrm>
          <a:off x="3880517" y="3567440"/>
          <a:ext cx="2546747" cy="152804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2700" kern="1200" dirty="0" smtClean="0"/>
            <a:t>Identify at Risk Participants</a:t>
          </a:r>
          <a:endParaRPr lang="en-US" sz="2700" kern="1200" dirty="0"/>
        </a:p>
      </dsp:txBody>
      <dsp:txXfrm>
        <a:off x="3880517" y="3567440"/>
        <a:ext cx="2546747" cy="1528048"/>
      </dsp:txXfrm>
    </dsp:sp>
    <dsp:sp modelId="{F9FAB722-A8F3-4416-8A60-BB9BD58F8F5A}">
      <dsp:nvSpPr>
        <dsp:cNvPr id="0" name=""/>
        <dsp:cNvSpPr/>
      </dsp:nvSpPr>
      <dsp:spPr>
        <a:xfrm>
          <a:off x="6681939" y="3567440"/>
          <a:ext cx="2546747" cy="152804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2700" kern="1200" dirty="0" smtClean="0"/>
            <a:t>Emergency Action Plan</a:t>
          </a:r>
          <a:endParaRPr lang="en-US" sz="2700" kern="1200" dirty="0"/>
        </a:p>
      </dsp:txBody>
      <dsp:txXfrm>
        <a:off x="6681939" y="3567440"/>
        <a:ext cx="2546747" cy="1528048"/>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8D89648-B71C-483B-8D08-59995F839ADF}" type="datetimeFigureOut">
              <a:rPr lang="en-US" smtClean="0"/>
              <a:t>1/19/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D31C722-9110-4F21-BE45-137F4876AC8F}" type="slidenum">
              <a:rPr lang="en-US" smtClean="0"/>
              <a:t>‹#›</a:t>
            </a:fld>
            <a:endParaRPr lang="en-US" dirty="0"/>
          </a:p>
        </p:txBody>
      </p:sp>
    </p:spTree>
    <p:extLst>
      <p:ext uri="{BB962C8B-B14F-4D97-AF65-F5344CB8AC3E}">
        <p14:creationId xmlns:p14="http://schemas.microsoft.com/office/powerpoint/2010/main" val="39781446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2</a:t>
            </a:fld>
            <a:endParaRPr lang="en-US" dirty="0"/>
          </a:p>
        </p:txBody>
      </p:sp>
    </p:spTree>
    <p:extLst>
      <p:ext uri="{BB962C8B-B14F-4D97-AF65-F5344CB8AC3E}">
        <p14:creationId xmlns:p14="http://schemas.microsoft.com/office/powerpoint/2010/main" val="14821231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solidFill>
                <a:schemeClr val="accent1"/>
              </a:solidFill>
            </a:endParaRPr>
          </a:p>
        </p:txBody>
      </p:sp>
      <p:sp>
        <p:nvSpPr>
          <p:cNvPr id="4" name="Slide Number Placeholder 3"/>
          <p:cNvSpPr>
            <a:spLocks noGrp="1"/>
          </p:cNvSpPr>
          <p:nvPr>
            <p:ph type="sldNum" sz="quarter" idx="10"/>
          </p:nvPr>
        </p:nvSpPr>
        <p:spPr/>
        <p:txBody>
          <a:bodyPr/>
          <a:lstStyle/>
          <a:p>
            <a:fld id="{8D31C722-9110-4F21-BE45-137F4876AC8F}" type="slidenum">
              <a:rPr lang="en-US" smtClean="0"/>
              <a:t>14</a:t>
            </a:fld>
            <a:endParaRPr lang="en-US" dirty="0"/>
          </a:p>
        </p:txBody>
      </p:sp>
    </p:spTree>
    <p:extLst>
      <p:ext uri="{BB962C8B-B14F-4D97-AF65-F5344CB8AC3E}">
        <p14:creationId xmlns:p14="http://schemas.microsoft.com/office/powerpoint/2010/main" val="19817083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15</a:t>
            </a:fld>
            <a:endParaRPr lang="en-US" dirty="0"/>
          </a:p>
        </p:txBody>
      </p:sp>
    </p:spTree>
    <p:extLst>
      <p:ext uri="{BB962C8B-B14F-4D97-AF65-F5344CB8AC3E}">
        <p14:creationId xmlns:p14="http://schemas.microsoft.com/office/powerpoint/2010/main" val="146337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3</a:t>
            </a:fld>
            <a:endParaRPr lang="en-US" dirty="0"/>
          </a:p>
        </p:txBody>
      </p:sp>
    </p:spTree>
    <p:extLst>
      <p:ext uri="{BB962C8B-B14F-4D97-AF65-F5344CB8AC3E}">
        <p14:creationId xmlns:p14="http://schemas.microsoft.com/office/powerpoint/2010/main" val="36541211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at stress</a:t>
            </a:r>
            <a:r>
              <a:rPr lang="en-US" baseline="0" dirty="0" smtClean="0"/>
              <a:t> is a medical emergency.</a:t>
            </a:r>
          </a:p>
          <a:p>
            <a:endParaRPr lang="en-US" baseline="0" dirty="0" smtClean="0"/>
          </a:p>
          <a:p>
            <a:r>
              <a:rPr lang="en-US" dirty="0" smtClean="0"/>
              <a:t>Univ</a:t>
            </a:r>
            <a:r>
              <a:rPr lang="en-US" baseline="0" dirty="0" smtClean="0"/>
              <a:t>. of Cumberlands – wrestlers required to run up steep inclines in heat because they didn’t make fundraising goals.  Wrestler started to exhibit symptoms, begged for water and team members were not allowed to help him.  He fled and was found dead a few hours later outside.</a:t>
            </a:r>
          </a:p>
          <a:p>
            <a:endParaRPr lang="en-US" baseline="0" dirty="0" smtClean="0"/>
          </a:p>
          <a:p>
            <a:r>
              <a:rPr lang="en-US" baseline="0" dirty="0" smtClean="0"/>
              <a:t>California State Univ. – no </a:t>
            </a:r>
            <a:r>
              <a:rPr lang="en-US" sz="1200" b="0" i="0" kern="1200" dirty="0" smtClean="0">
                <a:solidFill>
                  <a:schemeClr val="tx1"/>
                </a:solidFill>
                <a:effectLst/>
                <a:latin typeface="+mn-lt"/>
                <a:ea typeface="+mn-ea"/>
                <a:cs typeface="+mn-cs"/>
              </a:rPr>
              <a:t>policy for heat illness prevention, education or protocols.  Lifelong disability.</a:t>
            </a:r>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4</a:t>
            </a:fld>
            <a:endParaRPr lang="en-US" dirty="0"/>
          </a:p>
        </p:txBody>
      </p:sp>
    </p:spTree>
    <p:extLst>
      <p:ext uri="{BB962C8B-B14F-4D97-AF65-F5344CB8AC3E}">
        <p14:creationId xmlns:p14="http://schemas.microsoft.com/office/powerpoint/2010/main" val="30496153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Heat index - what the temperature feels like to the human body when relative humidity is combined with the air temperature.</a:t>
            </a:r>
          </a:p>
          <a:p>
            <a:endParaRPr lang="en-US" sz="1200" b="0" i="0" kern="1200" dirty="0" smtClean="0">
              <a:solidFill>
                <a:schemeClr val="tx1"/>
              </a:solidFill>
              <a:effectLst/>
              <a:latin typeface="+mn-lt"/>
              <a:ea typeface="+mn-ea"/>
              <a:cs typeface="+mn-cs"/>
            </a:endParaRPr>
          </a:p>
          <a:p>
            <a:pPr marL="171450" indent="-171450">
              <a:buFont typeface="Arial" panose="020B0604020202020204" pitchFamily="34" charset="0"/>
              <a:buChar char="•"/>
            </a:pPr>
            <a:r>
              <a:rPr lang="en-US" sz="1200" b="0" i="0" kern="1200" dirty="0" smtClean="0">
                <a:solidFill>
                  <a:schemeClr val="tx1"/>
                </a:solidFill>
                <a:effectLst/>
                <a:latin typeface="+mn-lt"/>
                <a:ea typeface="+mn-ea"/>
                <a:cs typeface="+mn-cs"/>
              </a:rPr>
              <a:t>Body</a:t>
            </a:r>
            <a:r>
              <a:rPr lang="en-US" sz="1200" b="0" i="0" kern="1200" baseline="0" dirty="0" smtClean="0">
                <a:solidFill>
                  <a:schemeClr val="tx1"/>
                </a:solidFill>
                <a:effectLst/>
                <a:latin typeface="+mn-lt"/>
                <a:ea typeface="+mn-ea"/>
                <a:cs typeface="+mn-cs"/>
              </a:rPr>
              <a:t> gets too hot.</a:t>
            </a:r>
          </a:p>
          <a:p>
            <a:pPr marL="171450" indent="-171450">
              <a:buFont typeface="Arial" panose="020B0604020202020204" pitchFamily="34" charset="0"/>
              <a:buChar char="•"/>
            </a:pPr>
            <a:r>
              <a:rPr lang="en-US" sz="1200" b="0" i="0" kern="1200" baseline="0" dirty="0" smtClean="0">
                <a:solidFill>
                  <a:schemeClr val="tx1"/>
                </a:solidFill>
                <a:effectLst/>
                <a:latin typeface="+mn-lt"/>
                <a:ea typeface="+mn-ea"/>
                <a:cs typeface="+mn-cs"/>
              </a:rPr>
              <a:t>Sweats to cool itself off.</a:t>
            </a:r>
          </a:p>
          <a:p>
            <a:pPr marL="171450" indent="-171450">
              <a:buFont typeface="Arial" panose="020B0604020202020204" pitchFamily="34" charset="0"/>
              <a:buChar char="•"/>
            </a:pPr>
            <a:r>
              <a:rPr lang="en-US" sz="1200" b="0" i="0" kern="1200" baseline="0" dirty="0" smtClean="0">
                <a:solidFill>
                  <a:schemeClr val="tx1"/>
                </a:solidFill>
                <a:effectLst/>
                <a:latin typeface="+mn-lt"/>
                <a:ea typeface="+mn-ea"/>
                <a:cs typeface="+mn-cs"/>
              </a:rPr>
              <a:t>When </a:t>
            </a:r>
            <a:r>
              <a:rPr lang="en-US" sz="1200" b="0" i="0" kern="1200" dirty="0" smtClean="0">
                <a:solidFill>
                  <a:schemeClr val="tx1"/>
                </a:solidFill>
                <a:effectLst/>
                <a:latin typeface="+mn-lt"/>
                <a:ea typeface="+mn-ea"/>
                <a:cs typeface="+mn-cs"/>
              </a:rPr>
              <a:t>perspiration can’t evaporate, it cannot regulate its temperature and cool itself.</a:t>
            </a:r>
          </a:p>
          <a:p>
            <a:pPr marL="171450" indent="-171450">
              <a:buFont typeface="Arial" panose="020B0604020202020204" pitchFamily="34" charset="0"/>
              <a:buChar char="•"/>
            </a:pPr>
            <a:r>
              <a:rPr lang="en-US" sz="1200" b="0" i="0" kern="1200" dirty="0" smtClean="0">
                <a:solidFill>
                  <a:schemeClr val="tx1"/>
                </a:solidFill>
                <a:effectLst/>
                <a:latin typeface="+mn-lt"/>
                <a:ea typeface="+mn-ea"/>
                <a:cs typeface="+mn-cs"/>
              </a:rPr>
              <a:t>When humidity is high, the rate of evaporation from the body decreases.</a:t>
            </a:r>
          </a:p>
          <a:p>
            <a:pPr marL="171450" indent="-171450">
              <a:buFont typeface="Arial" panose="020B0604020202020204" pitchFamily="34" charset="0"/>
              <a:buChar char="•"/>
            </a:pPr>
            <a:r>
              <a:rPr lang="en-US" sz="1200" b="0" i="0" kern="1200" dirty="0" smtClean="0">
                <a:solidFill>
                  <a:schemeClr val="tx1"/>
                </a:solidFill>
                <a:effectLst/>
                <a:latin typeface="+mn-lt"/>
                <a:ea typeface="+mn-ea"/>
                <a:cs typeface="+mn-cs"/>
              </a:rPr>
              <a:t>We feel warmer in humid conditions.</a:t>
            </a:r>
          </a:p>
          <a:p>
            <a:pPr marL="171450" indent="-171450">
              <a:buFont typeface="Arial" panose="020B0604020202020204" pitchFamily="34" charset="0"/>
              <a:buChar char="•"/>
            </a:pPr>
            <a:r>
              <a:rPr lang="en-US" sz="1200" b="0" i="0" kern="1200" dirty="0" smtClean="0">
                <a:solidFill>
                  <a:schemeClr val="tx1"/>
                </a:solidFill>
                <a:effectLst/>
                <a:latin typeface="+mn-lt"/>
                <a:ea typeface="+mn-ea"/>
                <a:cs typeface="+mn-cs"/>
              </a:rPr>
              <a:t>Humidity</a:t>
            </a:r>
            <a:r>
              <a:rPr lang="en-US" sz="1200" b="0" i="0" kern="1200" baseline="0" dirty="0" smtClean="0">
                <a:solidFill>
                  <a:schemeClr val="tx1"/>
                </a:solidFill>
                <a:effectLst/>
                <a:latin typeface="+mn-lt"/>
                <a:ea typeface="+mn-ea"/>
                <a:cs typeface="+mn-cs"/>
              </a:rPr>
              <a:t> = higher risk.</a:t>
            </a:r>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5</a:t>
            </a:fld>
            <a:endParaRPr lang="en-US" dirty="0"/>
          </a:p>
        </p:txBody>
      </p:sp>
    </p:spTree>
    <p:extLst>
      <p:ext uri="{BB962C8B-B14F-4D97-AF65-F5344CB8AC3E}">
        <p14:creationId xmlns:p14="http://schemas.microsoft.com/office/powerpoint/2010/main" val="14843112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b="1" dirty="0" smtClean="0"/>
              <a:t>Wet bulb</a:t>
            </a:r>
            <a:r>
              <a:rPr lang="en-US" dirty="0" smtClean="0"/>
              <a:t> - measures evaporation using the temperature read by a thermometer covered in a wet cloth.  Mirrors how the human body cools itself with sweat.</a:t>
            </a:r>
          </a:p>
          <a:p>
            <a:pPr fontAlgn="base"/>
            <a:r>
              <a:rPr lang="en-US" dirty="0" smtClean="0"/>
              <a:t>A </a:t>
            </a:r>
            <a:r>
              <a:rPr lang="en-US" b="1" dirty="0" smtClean="0"/>
              <a:t>black globe </a:t>
            </a:r>
            <a:r>
              <a:rPr lang="en-US" dirty="0" smtClean="0"/>
              <a:t>is used to measure solar radiation. Solar radiation heats the globe and wind blowing across it cools the globe.</a:t>
            </a:r>
          </a:p>
          <a:p>
            <a:pPr fontAlgn="base"/>
            <a:r>
              <a:rPr lang="en-US" dirty="0" smtClean="0"/>
              <a:t>A </a:t>
            </a:r>
            <a:r>
              <a:rPr lang="en-US" b="1" dirty="0" smtClean="0"/>
              <a:t>Dry bulb </a:t>
            </a:r>
            <a:r>
              <a:rPr lang="en-US" dirty="0" smtClean="0"/>
              <a:t>calculates the air temperature measured in the shade. It is the temperature you would see on your thermometer outside.</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6</a:t>
            </a:fld>
            <a:endParaRPr lang="en-US" dirty="0"/>
          </a:p>
        </p:txBody>
      </p:sp>
    </p:spTree>
    <p:extLst>
      <p:ext uri="{BB962C8B-B14F-4D97-AF65-F5344CB8AC3E}">
        <p14:creationId xmlns:p14="http://schemas.microsoft.com/office/powerpoint/2010/main" val="891583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smtClean="0">
                <a:solidFill>
                  <a:schemeClr val="tx1"/>
                </a:solidFill>
                <a:effectLst/>
                <a:latin typeface="+mn-lt"/>
                <a:ea typeface="+mn-ea"/>
                <a:cs typeface="+mn-cs"/>
              </a:rPr>
              <a:t>Age.</a:t>
            </a:r>
            <a:r>
              <a:rPr lang="en-US" sz="1200" b="0" i="0" kern="1200" dirty="0" smtClean="0">
                <a:solidFill>
                  <a:schemeClr val="tx1"/>
                </a:solidFill>
                <a:effectLst/>
                <a:latin typeface="+mn-lt"/>
                <a:ea typeface="+mn-ea"/>
                <a:cs typeface="+mn-cs"/>
              </a:rPr>
              <a:t> Ability to cope with extreme heat depends on the strength of your central nervous system. Very young - central nervous system not fully developed.  Older</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65+) - central nervous system begins to deteriorate, making the body less able to cope with</a:t>
            </a:r>
            <a:r>
              <a:rPr lang="en-US" sz="1200" b="0" i="0" kern="1200" baseline="0" dirty="0" smtClean="0">
                <a:solidFill>
                  <a:schemeClr val="tx1"/>
                </a:solidFill>
                <a:effectLst/>
                <a:latin typeface="+mn-lt"/>
                <a:ea typeface="+mn-ea"/>
                <a:cs typeface="+mn-cs"/>
              </a:rPr>
              <a:t> heat.</a:t>
            </a:r>
            <a:endParaRPr lang="en-US" sz="1200" b="0" i="0" kern="1200" dirty="0" smtClean="0">
              <a:solidFill>
                <a:schemeClr val="tx1"/>
              </a:solidFill>
              <a:effectLst/>
              <a:latin typeface="+mn-lt"/>
              <a:ea typeface="+mn-ea"/>
              <a:cs typeface="+mn-cs"/>
            </a:endParaRPr>
          </a:p>
          <a:p>
            <a:r>
              <a:rPr lang="en-US" sz="1200" b="1" i="0" kern="1200" dirty="0" smtClean="0">
                <a:solidFill>
                  <a:schemeClr val="tx1"/>
                </a:solidFill>
                <a:effectLst/>
                <a:latin typeface="+mn-lt"/>
                <a:ea typeface="+mn-ea"/>
                <a:cs typeface="+mn-cs"/>
              </a:rPr>
              <a:t>Exertion in hot weather.</a:t>
            </a:r>
            <a:r>
              <a:rPr lang="en-US" sz="1200" b="0" i="0" kern="1200" dirty="0" smtClean="0">
                <a:solidFill>
                  <a:schemeClr val="tx1"/>
                </a:solidFill>
                <a:effectLst/>
                <a:latin typeface="+mn-lt"/>
                <a:ea typeface="+mn-ea"/>
                <a:cs typeface="+mn-cs"/>
              </a:rPr>
              <a:t> Exertion</a:t>
            </a:r>
            <a:r>
              <a:rPr lang="en-US" sz="1200" b="0" i="0" kern="1200" baseline="0" dirty="0" smtClean="0">
                <a:solidFill>
                  <a:schemeClr val="tx1"/>
                </a:solidFill>
                <a:effectLst/>
                <a:latin typeface="+mn-lt"/>
                <a:ea typeface="+mn-ea"/>
                <a:cs typeface="+mn-cs"/>
              </a:rPr>
              <a:t> increases heat produced by the body.</a:t>
            </a:r>
            <a:endParaRPr lang="en-US" sz="1200" b="0" i="0" kern="1200" dirty="0" smtClean="0">
              <a:solidFill>
                <a:schemeClr val="tx1"/>
              </a:solidFill>
              <a:effectLst/>
              <a:latin typeface="+mn-lt"/>
              <a:ea typeface="+mn-ea"/>
              <a:cs typeface="+mn-cs"/>
            </a:endParaRPr>
          </a:p>
          <a:p>
            <a:r>
              <a:rPr lang="en-US" sz="1200" b="1" i="0" kern="1200" dirty="0" smtClean="0">
                <a:solidFill>
                  <a:schemeClr val="tx1"/>
                </a:solidFill>
                <a:effectLst/>
                <a:latin typeface="+mn-lt"/>
                <a:ea typeface="+mn-ea"/>
                <a:cs typeface="+mn-cs"/>
              </a:rPr>
              <a:t>Sudden exposure to hot weather.</a:t>
            </a:r>
            <a:r>
              <a:rPr lang="en-US" sz="1200" b="0" i="0" kern="1200" dirty="0" smtClean="0">
                <a:solidFill>
                  <a:schemeClr val="tx1"/>
                </a:solidFill>
                <a:effectLst/>
                <a:latin typeface="+mn-lt"/>
                <a:ea typeface="+mn-ea"/>
                <a:cs typeface="+mn-cs"/>
              </a:rPr>
              <a:t>  More susceptible to heat-related illness</a:t>
            </a:r>
            <a:r>
              <a:rPr lang="en-US" sz="1200" b="0" i="0" kern="1200" baseline="0" dirty="0" smtClean="0">
                <a:solidFill>
                  <a:schemeClr val="tx1"/>
                </a:solidFill>
                <a:effectLst/>
                <a:latin typeface="+mn-lt"/>
                <a:ea typeface="+mn-ea"/>
                <a:cs typeface="+mn-cs"/>
              </a:rPr>
              <a:t> when </a:t>
            </a:r>
            <a:r>
              <a:rPr lang="en-US" sz="1200" b="0" i="0" kern="1200" dirty="0" smtClean="0">
                <a:solidFill>
                  <a:schemeClr val="tx1"/>
                </a:solidFill>
                <a:effectLst/>
                <a:latin typeface="+mn-lt"/>
                <a:ea typeface="+mn-ea"/>
                <a:cs typeface="+mn-cs"/>
              </a:rPr>
              <a:t>exposed to a sudden increase in temperature, like an early-summer heat wave or travel to a hotter climate.  Allowing time to get used to the heat</a:t>
            </a:r>
            <a:r>
              <a:rPr lang="en-US" sz="1200" b="0" i="0" kern="1200" baseline="0" dirty="0" smtClean="0">
                <a:solidFill>
                  <a:schemeClr val="tx1"/>
                </a:solidFill>
                <a:effectLst/>
                <a:latin typeface="+mn-lt"/>
                <a:ea typeface="+mn-ea"/>
                <a:cs typeface="+mn-cs"/>
              </a:rPr>
              <a:t> reduces susceptibility.  A few days w</a:t>
            </a:r>
            <a:r>
              <a:rPr lang="en-US" sz="1200" b="0" i="0" kern="1200" dirty="0" smtClean="0">
                <a:solidFill>
                  <a:schemeClr val="tx1"/>
                </a:solidFill>
                <a:effectLst/>
                <a:latin typeface="+mn-lt"/>
                <a:ea typeface="+mn-ea"/>
                <a:cs typeface="+mn-cs"/>
              </a:rPr>
              <a:t>ill help but several weeks</a:t>
            </a:r>
            <a:r>
              <a:rPr lang="en-US" sz="1200" b="0" i="0" kern="1200" baseline="0" dirty="0" smtClean="0">
                <a:solidFill>
                  <a:schemeClr val="tx1"/>
                </a:solidFill>
                <a:effectLst/>
                <a:latin typeface="+mn-lt"/>
                <a:ea typeface="+mn-ea"/>
                <a:cs typeface="+mn-cs"/>
              </a:rPr>
              <a:t> at higher temp is needed to decrease </a:t>
            </a:r>
            <a:r>
              <a:rPr lang="en-US" sz="1200" b="0" i="0" kern="1200" dirty="0" smtClean="0">
                <a:solidFill>
                  <a:schemeClr val="tx1"/>
                </a:solidFill>
                <a:effectLst/>
                <a:latin typeface="+mn-lt"/>
                <a:ea typeface="+mn-ea"/>
                <a:cs typeface="+mn-cs"/>
              </a:rPr>
              <a:t>the risk of heatstroke.</a:t>
            </a:r>
          </a:p>
          <a:p>
            <a:r>
              <a:rPr lang="en-US" sz="1200" b="1" i="0" kern="1200" dirty="0" smtClean="0">
                <a:solidFill>
                  <a:schemeClr val="tx1"/>
                </a:solidFill>
                <a:effectLst/>
                <a:latin typeface="+mn-lt"/>
                <a:ea typeface="+mn-ea"/>
                <a:cs typeface="+mn-cs"/>
              </a:rPr>
              <a:t>A lack of air conditioning.</a:t>
            </a:r>
            <a:r>
              <a:rPr lang="en-US" sz="1200" b="0" i="0" kern="1200" dirty="0" smtClean="0">
                <a:solidFill>
                  <a:schemeClr val="tx1"/>
                </a:solidFill>
                <a:effectLst/>
                <a:latin typeface="+mn-lt"/>
                <a:ea typeface="+mn-ea"/>
                <a:cs typeface="+mn-cs"/>
              </a:rPr>
              <a:t> Critical in cooling down and lowering humidity.</a:t>
            </a:r>
          </a:p>
          <a:p>
            <a:r>
              <a:rPr lang="en-US" sz="1200" b="1" i="0" kern="1200" dirty="0" smtClean="0">
                <a:solidFill>
                  <a:schemeClr val="tx1"/>
                </a:solidFill>
                <a:effectLst/>
                <a:latin typeface="+mn-lt"/>
                <a:ea typeface="+mn-ea"/>
                <a:cs typeface="+mn-cs"/>
              </a:rPr>
              <a:t>Certain medications.</a:t>
            </a:r>
            <a:r>
              <a:rPr lang="en-US" sz="1200" b="0" i="0" kern="1200" dirty="0" smtClean="0">
                <a:solidFill>
                  <a:schemeClr val="tx1"/>
                </a:solidFill>
                <a:effectLst/>
                <a:latin typeface="+mn-lt"/>
                <a:ea typeface="+mn-ea"/>
                <a:cs typeface="+mn-cs"/>
              </a:rPr>
              <a:t> Some medications affect the ability to stay hydrated and respond to heat.</a:t>
            </a:r>
          </a:p>
          <a:p>
            <a:r>
              <a:rPr lang="en-US" sz="1200" b="1" i="0" kern="1200" dirty="0" smtClean="0">
                <a:solidFill>
                  <a:schemeClr val="tx1"/>
                </a:solidFill>
                <a:effectLst/>
                <a:latin typeface="+mn-lt"/>
                <a:ea typeface="+mn-ea"/>
                <a:cs typeface="+mn-cs"/>
              </a:rPr>
              <a:t>Certain health conditions.</a:t>
            </a:r>
            <a:r>
              <a:rPr lang="en-US" sz="1200" b="0" i="0" kern="1200" dirty="0" smtClean="0">
                <a:solidFill>
                  <a:schemeClr val="tx1"/>
                </a:solidFill>
                <a:effectLst/>
                <a:latin typeface="+mn-lt"/>
                <a:ea typeface="+mn-ea"/>
                <a:cs typeface="+mn-cs"/>
              </a:rPr>
              <a:t> Certain chronic illnesses can</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increase risk. </a:t>
            </a:r>
            <a:r>
              <a:rPr lang="en-US" sz="1200" b="0" i="0" kern="1200" baseline="0" dirty="0" smtClean="0">
                <a:solidFill>
                  <a:schemeClr val="tx1"/>
                </a:solidFill>
                <a:effectLst/>
                <a:latin typeface="+mn-lt"/>
                <a:ea typeface="+mn-ea"/>
                <a:cs typeface="+mn-cs"/>
              </a:rPr>
              <a:t> Common conditions include </a:t>
            </a:r>
            <a:r>
              <a:rPr lang="en-US" sz="1200" b="0" i="0" kern="1200" dirty="0" smtClean="0">
                <a:solidFill>
                  <a:schemeClr val="tx1"/>
                </a:solidFill>
                <a:effectLst/>
                <a:latin typeface="+mn-lt"/>
                <a:ea typeface="+mn-ea"/>
                <a:cs typeface="+mn-cs"/>
              </a:rPr>
              <a:t>obesity, sedentary or have a history of previous heatstroke</a:t>
            </a:r>
            <a:r>
              <a:rPr lang="en-US" sz="1200" b="0" i="0" kern="1200" baseline="0" dirty="0" smtClean="0">
                <a:solidFill>
                  <a:schemeClr val="tx1"/>
                </a:solidFill>
                <a:effectLst/>
                <a:latin typeface="+mn-lt"/>
                <a:ea typeface="+mn-ea"/>
                <a:cs typeface="+mn-cs"/>
              </a:rPr>
              <a:t>.</a:t>
            </a:r>
            <a:endParaRPr lang="en-US" sz="1200" b="0" i="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7</a:t>
            </a:fld>
            <a:endParaRPr lang="en-US" dirty="0"/>
          </a:p>
        </p:txBody>
      </p:sp>
    </p:spTree>
    <p:extLst>
      <p:ext uri="{BB962C8B-B14F-4D97-AF65-F5344CB8AC3E}">
        <p14:creationId xmlns:p14="http://schemas.microsoft.com/office/powerpoint/2010/main" val="26079812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Athletics conditioning and practice at high risk.  Games and events as well.</a:t>
            </a:r>
          </a:p>
          <a:p>
            <a:pPr marL="171450" indent="-171450">
              <a:buFont typeface="Arial" panose="020B0604020202020204" pitchFamily="34" charset="0"/>
              <a:buChar char="•"/>
            </a:pPr>
            <a:r>
              <a:rPr lang="en-US" dirty="0" smtClean="0"/>
              <a:t>Science</a:t>
            </a:r>
            <a:r>
              <a:rPr lang="en-US" baseline="0" dirty="0" smtClean="0"/>
              <a:t> fieldwork</a:t>
            </a:r>
          </a:p>
          <a:p>
            <a:pPr marL="171450" indent="-171450">
              <a:buFont typeface="Arial" panose="020B0604020202020204" pitchFamily="34" charset="0"/>
              <a:buChar char="•"/>
            </a:pPr>
            <a:r>
              <a:rPr lang="en-US" baseline="0" dirty="0" smtClean="0"/>
              <a:t>Fitness classes that are normally indoors</a:t>
            </a:r>
          </a:p>
          <a:p>
            <a:pPr marL="171450" indent="-171450">
              <a:buFont typeface="Arial" panose="020B0604020202020204" pitchFamily="34" charset="0"/>
              <a:buChar char="•"/>
            </a:pPr>
            <a:r>
              <a:rPr lang="en-US" baseline="0" dirty="0" smtClean="0"/>
              <a:t>Class work like kinesiology/fitness that are normally lecture and labs but go outdoors for additional physical activities</a:t>
            </a:r>
          </a:p>
          <a:p>
            <a:pPr marL="171450" indent="-171450">
              <a:buFont typeface="Arial" panose="020B0604020202020204" pitchFamily="34" charset="0"/>
              <a:buChar char="•"/>
            </a:pPr>
            <a:r>
              <a:rPr lang="en-US" baseline="0" dirty="0" smtClean="0"/>
              <a:t>Club and </a:t>
            </a:r>
            <a:r>
              <a:rPr lang="en-US" baseline="0" dirty="0" smtClean="0"/>
              <a:t>intramural </a:t>
            </a:r>
            <a:r>
              <a:rPr lang="en-US" baseline="0" dirty="0" smtClean="0"/>
              <a:t>sports</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8</a:t>
            </a:fld>
            <a:endParaRPr lang="en-US" dirty="0"/>
          </a:p>
        </p:txBody>
      </p:sp>
    </p:spTree>
    <p:extLst>
      <p:ext uri="{BB962C8B-B14F-4D97-AF65-F5344CB8AC3E}">
        <p14:creationId xmlns:p14="http://schemas.microsoft.com/office/powerpoint/2010/main" val="32813428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Pre-Participation Physicals: particularly for athletics and ideally before conditioning and practice begins, include complete physical exam, medical history and annual health history update.</a:t>
            </a:r>
          </a:p>
          <a:p>
            <a:r>
              <a:rPr lang="en-US" dirty="0" smtClean="0"/>
              <a:t>2. Acclimatization: Acclimatize to increasing exercise intensity, equipment, and hot/humid environments gradually through progressive practice sessions for the a few weeks during hot/humid days.</a:t>
            </a:r>
          </a:p>
          <a:p>
            <a:r>
              <a:rPr lang="en-US" dirty="0" smtClean="0"/>
              <a:t>3. Monitoring Environmental Conditions: Know the temperature and humidity, using the Heat Index.</a:t>
            </a:r>
            <a:r>
              <a:rPr lang="en-US" baseline="0" dirty="0" smtClean="0"/>
              <a:t>  Consider impact of clothing or equipment in maintaining heat,</a:t>
            </a:r>
          </a:p>
          <a:p>
            <a:r>
              <a:rPr lang="en-US" dirty="0" smtClean="0"/>
              <a:t>4. Adjust Activity Levels: Intensity of exercise is the leading factor, can increase core body temperature higher and faster than any other. </a:t>
            </a:r>
          </a:p>
          <a:p>
            <a:pPr marL="628650" lvl="1" indent="-171450">
              <a:buFont typeface="Arial" panose="020B0604020202020204" pitchFamily="34" charset="0"/>
              <a:buChar char="•"/>
            </a:pPr>
            <a:r>
              <a:rPr lang="en-US" baseline="0" dirty="0" smtClean="0"/>
              <a:t> </a:t>
            </a:r>
            <a:r>
              <a:rPr lang="en-US" dirty="0" smtClean="0"/>
              <a:t>Adjust</a:t>
            </a:r>
            <a:r>
              <a:rPr lang="en-US" baseline="0" dirty="0" smtClean="0"/>
              <a:t> </a:t>
            </a:r>
            <a:r>
              <a:rPr lang="en-US" dirty="0" smtClean="0"/>
              <a:t>activity level and provide frequent rest periods</a:t>
            </a:r>
          </a:p>
          <a:p>
            <a:pPr marL="628650" lvl="1" indent="-171450">
              <a:buFont typeface="Arial" panose="020B0604020202020204" pitchFamily="34" charset="0"/>
              <a:buChar char="•"/>
            </a:pPr>
            <a:r>
              <a:rPr lang="en-US" baseline="0" smtClean="0"/>
              <a:t> </a:t>
            </a:r>
            <a:r>
              <a:rPr lang="en-US" smtClean="0"/>
              <a:t>Minimize </a:t>
            </a:r>
            <a:r>
              <a:rPr lang="en-US" dirty="0" smtClean="0"/>
              <a:t>multiple sessions during the same day and allow at least three hours of recovery between sessions</a:t>
            </a:r>
          </a:p>
          <a:p>
            <a:pPr marL="628650" lvl="1" indent="-171450">
              <a:buFont typeface="Arial" panose="020B0604020202020204" pitchFamily="34" charset="0"/>
              <a:buChar char="•"/>
            </a:pPr>
            <a:r>
              <a:rPr lang="en-US" dirty="0" smtClean="0"/>
              <a:t> - Take</a:t>
            </a:r>
            <a:r>
              <a:rPr lang="en-US" baseline="0" dirty="0" smtClean="0"/>
              <a:t> r</a:t>
            </a:r>
            <a:r>
              <a:rPr lang="en-US" dirty="0" smtClean="0"/>
              <a:t>est breaks in cool, shaded areas with some air movement</a:t>
            </a:r>
          </a:p>
          <a:p>
            <a:pPr marL="0" indent="0">
              <a:buFontTx/>
              <a:buNone/>
            </a:pPr>
            <a:r>
              <a:rPr lang="en-US" dirty="0" smtClean="0"/>
              <a:t>5. Hydration: Make fluids readily available encouraged participants to drink.  Encourage drinking before, during, and after practice. </a:t>
            </a:r>
          </a:p>
          <a:p>
            <a:pPr marL="0" indent="0">
              <a:buFontTx/>
              <a:buNone/>
            </a:pPr>
            <a:r>
              <a:rPr lang="en-US" dirty="0" smtClean="0"/>
              <a:t>6. Monitor Participants:</a:t>
            </a:r>
            <a:r>
              <a:rPr lang="en-US" baseline="0" dirty="0" smtClean="0"/>
              <a:t> Monitor participant’s conditions to be able to intervene early if there are issues.</a:t>
            </a:r>
            <a:endParaRPr lang="en-US" dirty="0" smtClean="0"/>
          </a:p>
          <a:p>
            <a:pPr marL="0" indent="0">
              <a:buFontTx/>
              <a:buNone/>
            </a:pPr>
            <a:r>
              <a:rPr lang="en-US" dirty="0" smtClean="0"/>
              <a:t>7. Clothing &amp; Equipment: Use</a:t>
            </a:r>
            <a:r>
              <a:rPr lang="en-US" baseline="0" dirty="0" smtClean="0"/>
              <a:t> m</a:t>
            </a:r>
            <a:r>
              <a:rPr lang="en-US" dirty="0" smtClean="0"/>
              <a:t>oisture wicking apparel to </a:t>
            </a:r>
            <a:r>
              <a:rPr lang="en-US" baseline="0" dirty="0" smtClean="0"/>
              <a:t>help </a:t>
            </a:r>
            <a:r>
              <a:rPr lang="en-US" dirty="0" smtClean="0"/>
              <a:t>dissipate heat.</a:t>
            </a:r>
          </a:p>
          <a:p>
            <a:pPr marL="0" indent="0">
              <a:buFontTx/>
              <a:buNone/>
            </a:pPr>
            <a:r>
              <a:rPr lang="en-US" dirty="0" smtClean="0"/>
              <a:t>8. Identify At-Risk Participants:</a:t>
            </a:r>
          </a:p>
          <a:p>
            <a:pPr marL="0" indent="0">
              <a:buFontTx/>
              <a:buNone/>
            </a:pPr>
            <a:r>
              <a:rPr lang="en-US" dirty="0" smtClean="0"/>
              <a:t> - Not accustomed to physical activity in the heat</a:t>
            </a:r>
          </a:p>
          <a:p>
            <a:pPr marL="0" indent="0">
              <a:buFontTx/>
              <a:buNone/>
            </a:pPr>
            <a:r>
              <a:rPr lang="en-US" dirty="0" smtClean="0"/>
              <a:t> - Overweight</a:t>
            </a:r>
          </a:p>
          <a:p>
            <a:pPr marL="0" indent="0">
              <a:buFontTx/>
              <a:buNone/>
            </a:pPr>
            <a:r>
              <a:rPr lang="en-US" baseline="0" dirty="0" smtClean="0"/>
              <a:t> - I</a:t>
            </a:r>
            <a:r>
              <a:rPr lang="en-US" dirty="0" smtClean="0"/>
              <a:t>ll or have a medical condition</a:t>
            </a:r>
          </a:p>
          <a:p>
            <a:pPr marL="0" indent="0">
              <a:buFontTx/>
              <a:buNone/>
            </a:pPr>
            <a:r>
              <a:rPr lang="en-US" dirty="0" smtClean="0"/>
              <a:t> - May push themselves and push</a:t>
            </a:r>
            <a:r>
              <a:rPr lang="en-US" baseline="0" dirty="0" smtClean="0"/>
              <a:t> </a:t>
            </a:r>
            <a:r>
              <a:rPr lang="en-US" dirty="0" smtClean="0"/>
              <a:t>maximum capacity without heeding warning signs</a:t>
            </a:r>
          </a:p>
          <a:p>
            <a:pPr marL="0" indent="0">
              <a:buFontTx/>
              <a:buNone/>
            </a:pPr>
            <a:r>
              <a:rPr lang="en-US" dirty="0" smtClean="0"/>
              <a:t> - Peer/Leader pressure</a:t>
            </a:r>
          </a:p>
          <a:p>
            <a:pPr marL="0" indent="0">
              <a:buFontTx/>
              <a:buNone/>
            </a:pPr>
            <a:r>
              <a:rPr lang="en-US" dirty="0" smtClean="0"/>
              <a:t> - Have suffered heat problems</a:t>
            </a:r>
          </a:p>
          <a:p>
            <a:pPr marL="0" indent="0">
              <a:buFontTx/>
              <a:buNone/>
            </a:pPr>
            <a:r>
              <a:rPr lang="en-US" dirty="0" smtClean="0"/>
              <a:t>10. Emergency Action Plan: Written emergency procedures should be in place and reviewed annually. </a:t>
            </a:r>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10</a:t>
            </a:fld>
            <a:endParaRPr lang="en-US" dirty="0"/>
          </a:p>
        </p:txBody>
      </p:sp>
    </p:spTree>
    <p:extLst>
      <p:ext uri="{BB962C8B-B14F-4D97-AF65-F5344CB8AC3E}">
        <p14:creationId xmlns:p14="http://schemas.microsoft.com/office/powerpoint/2010/main" val="32060834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8D31C722-9110-4F21-BE45-137F4876AC8F}" type="slidenum">
              <a:rPr lang="en-US" smtClean="0"/>
              <a:t>11</a:t>
            </a:fld>
            <a:endParaRPr lang="en-US" dirty="0"/>
          </a:p>
        </p:txBody>
      </p:sp>
    </p:spTree>
    <p:extLst>
      <p:ext uri="{BB962C8B-B14F-4D97-AF65-F5344CB8AC3E}">
        <p14:creationId xmlns:p14="http://schemas.microsoft.com/office/powerpoint/2010/main" val="39257863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8.emf"/><Relationship Id="rId4" Type="http://schemas.openxmlformats.org/officeDocument/2006/relationships/oleObject" Target="../embeddings/oleObject19.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8.sv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20.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20.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21.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8.svg"/><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22.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9.emf"/><Relationship Id="rId5" Type="http://schemas.openxmlformats.org/officeDocument/2006/relationships/oleObject" Target="../embeddings/oleObject23.bin"/><Relationship Id="rId4" Type="http://schemas.openxmlformats.org/officeDocument/2006/relationships/image" Target="../media/image11.png"/><Relationship Id="rId9" Type="http://schemas.openxmlformats.org/officeDocument/2006/relationships/image" Target="../media/image18.sv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24.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8.svg"/><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25.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9.emf"/><Relationship Id="rId5" Type="http://schemas.openxmlformats.org/officeDocument/2006/relationships/oleObject" Target="../embeddings/oleObject26.bin"/><Relationship Id="rId4" Type="http://schemas.openxmlformats.org/officeDocument/2006/relationships/image" Target="../media/image11.png"/><Relationship Id="rId9" Type="http://schemas.openxmlformats.org/officeDocument/2006/relationships/image" Target="../media/image18.sv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8.emf"/><Relationship Id="rId4" Type="http://schemas.openxmlformats.org/officeDocument/2006/relationships/oleObject" Target="../embeddings/oleObject27.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28.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8.svg"/><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29.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4.emf"/><Relationship Id="rId4" Type="http://schemas.openxmlformats.org/officeDocument/2006/relationships/oleObject" Target="../embeddings/oleObject31.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4.emf"/><Relationship Id="rId4" Type="http://schemas.openxmlformats.org/officeDocument/2006/relationships/oleObject" Target="../embeddings/oleObject32.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2.emf"/><Relationship Id="rId4" Type="http://schemas.openxmlformats.org/officeDocument/2006/relationships/oleObject" Target="../embeddings/oleObject33.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2.emf"/><Relationship Id="rId4" Type="http://schemas.openxmlformats.org/officeDocument/2006/relationships/oleObject" Target="../embeddings/oleObject3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12.emf"/><Relationship Id="rId5" Type="http://schemas.openxmlformats.org/officeDocument/2006/relationships/oleObject" Target="../embeddings/oleObject35.bin"/><Relationship Id="rId4" Type="http://schemas.openxmlformats.org/officeDocument/2006/relationships/image" Target="../media/image13.pn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3.emf"/><Relationship Id="rId4" Type="http://schemas.openxmlformats.org/officeDocument/2006/relationships/oleObject" Target="../embeddings/oleObject36.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4.emf"/><Relationship Id="rId4" Type="http://schemas.openxmlformats.org/officeDocument/2006/relationships/oleObject" Target="../embeddings/oleObject37.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4.emf"/><Relationship Id="rId4" Type="http://schemas.openxmlformats.org/officeDocument/2006/relationships/oleObject" Target="../embeddings/oleObject38.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4.emf"/><Relationship Id="rId4" Type="http://schemas.openxmlformats.org/officeDocument/2006/relationships/oleObject" Target="../embeddings/oleObject39.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4.emf"/><Relationship Id="rId4" Type="http://schemas.openxmlformats.org/officeDocument/2006/relationships/oleObject" Target="../embeddings/oleObject40.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4.emf"/><Relationship Id="rId4" Type="http://schemas.openxmlformats.org/officeDocument/2006/relationships/oleObject" Target="../embeddings/oleObject40.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3.emf"/><Relationship Id="rId4" Type="http://schemas.openxmlformats.org/officeDocument/2006/relationships/oleObject" Target="../embeddings/oleObject36.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5.emf"/><Relationship Id="rId4" Type="http://schemas.openxmlformats.org/officeDocument/2006/relationships/oleObject" Target="../embeddings/oleObject41.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5.emf"/><Relationship Id="rId4" Type="http://schemas.openxmlformats.org/officeDocument/2006/relationships/oleObject" Target="../embeddings/oleObject42.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8.emf"/><Relationship Id="rId4" Type="http://schemas.openxmlformats.org/officeDocument/2006/relationships/oleObject" Target="../embeddings/oleObject43.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8.emf"/><Relationship Id="rId4" Type="http://schemas.openxmlformats.org/officeDocument/2006/relationships/oleObject" Target="../embeddings/oleObject43.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2.png"/><Relationship Id="rId5" Type="http://schemas.openxmlformats.org/officeDocument/2006/relationships/image" Target="../media/image16.emf"/><Relationship Id="rId4" Type="http://schemas.openxmlformats.org/officeDocument/2006/relationships/oleObject" Target="../embeddings/oleObject45.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8.svg"/><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10.png"/><Relationship Id="rId5" Type="http://schemas.openxmlformats.org/officeDocument/2006/relationships/image" Target="../media/image16.emf"/><Relationship Id="rId4" Type="http://schemas.openxmlformats.org/officeDocument/2006/relationships/oleObject" Target="../embeddings/oleObject46.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2.png"/><Relationship Id="rId5" Type="http://schemas.openxmlformats.org/officeDocument/2006/relationships/image" Target="../media/image16.emf"/><Relationship Id="rId4" Type="http://schemas.openxmlformats.org/officeDocument/2006/relationships/oleObject" Target="../embeddings/oleObject47.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8.svg"/><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10.png"/><Relationship Id="rId5" Type="http://schemas.openxmlformats.org/officeDocument/2006/relationships/image" Target="../media/image16.emf"/><Relationship Id="rId4" Type="http://schemas.openxmlformats.org/officeDocument/2006/relationships/oleObject" Target="../embeddings/oleObject48.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6.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ntent">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7402"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C6A0CCC6-7BFA-B74B-BE8E-833BC82918F0}"/>
              </a:ext>
            </a:extLst>
          </p:cNvPr>
          <p:cNvSpPr txBox="1"/>
          <p:nvPr/>
        </p:nvSpPr>
        <p:spPr>
          <a:xfrm>
            <a:off x="374977" y="2505671"/>
            <a:ext cx="8423034" cy="1846659"/>
          </a:xfrm>
          <a:prstGeom prst="rect">
            <a:avLst/>
          </a:prstGeom>
          <a:noFill/>
        </p:spPr>
        <p:txBody>
          <a:bodyPr wrap="square" lIns="0" tIns="0" rIns="0" bIns="0" rtlCol="0" anchor="ctr">
            <a:spAutoFit/>
          </a:bodyPr>
          <a:lstStyle/>
          <a:p>
            <a:pPr algn="l"/>
            <a:r>
              <a:rPr lang="en-US" sz="12000" b="1" i="0" dirty="0" smtClean="0">
                <a:solidFill>
                  <a:schemeClr val="bg1"/>
                </a:solidFill>
                <a:latin typeface="Arial" panose="020B0604020202020204" pitchFamily="34" charset="0"/>
                <a:cs typeface="Arial" panose="020B0604020202020204" pitchFamily="34" charset="0"/>
              </a:rPr>
              <a:t>Content</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46988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179489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662"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7" name="Freeform 16">
            <a:extLst>
              <a:ext uri="{FF2B5EF4-FFF2-40B4-BE49-F238E27FC236}">
                <a16:creationId xmlns:a16="http://schemas.microsoft.com/office/drawing/2014/main" id="{87B98418-DB22-7247-B4EF-AF4390CDCA0E}"/>
              </a:ext>
            </a:extLst>
          </p:cNvPr>
          <p:cNvSpPr/>
          <p:nvPr/>
        </p:nvSpPr>
        <p:spPr>
          <a:xfrm>
            <a:off x="6211018" y="0"/>
            <a:ext cx="5980982" cy="6858000"/>
          </a:xfrm>
          <a:custGeom>
            <a:avLst/>
            <a:gdLst>
              <a:gd name="connsiteX0" fmla="*/ 0 w 5980982"/>
              <a:gd name="connsiteY0" fmla="*/ 0 h 6858000"/>
              <a:gd name="connsiteX1" fmla="*/ 5980982 w 5980982"/>
              <a:gd name="connsiteY1" fmla="*/ 0 h 6858000"/>
              <a:gd name="connsiteX2" fmla="*/ 5980982 w 5980982"/>
              <a:gd name="connsiteY2" fmla="*/ 6858000 h 6858000"/>
              <a:gd name="connsiteX3" fmla="*/ 0 w 5980982"/>
              <a:gd name="connsiteY3" fmla="*/ 6858000 h 6858000"/>
              <a:gd name="connsiteX4" fmla="*/ 0 w 5980982"/>
              <a:gd name="connsiteY4" fmla="*/ 3555999 h 6858000"/>
              <a:gd name="connsiteX5" fmla="*/ 132789 w 5980982"/>
              <a:gd name="connsiteY5" fmla="*/ 3429000 h 6858000"/>
              <a:gd name="connsiteX6" fmla="*/ 0 w 5980982"/>
              <a:gd name="connsiteY6" fmla="*/ 33020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0982" h="6858000">
                <a:moveTo>
                  <a:pt x="0" y="0"/>
                </a:moveTo>
                <a:lnTo>
                  <a:pt x="5980982" y="0"/>
                </a:lnTo>
                <a:lnTo>
                  <a:pt x="5980982" y="6858000"/>
                </a:lnTo>
                <a:lnTo>
                  <a:pt x="0" y="6858000"/>
                </a:lnTo>
                <a:lnTo>
                  <a:pt x="0" y="3555999"/>
                </a:lnTo>
                <a:lnTo>
                  <a:pt x="132789" y="3429000"/>
                </a:lnTo>
                <a:lnTo>
                  <a:pt x="0" y="3302001"/>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dirty="0"/>
          </a:p>
        </p:txBody>
      </p:sp>
      <p:sp>
        <p:nvSpPr>
          <p:cNvPr id="5" name="Title 1">
            <a:extLst>
              <a:ext uri="{FF2B5EF4-FFF2-40B4-BE49-F238E27FC236}">
                <a16:creationId xmlns:a16="http://schemas.microsoft.com/office/drawing/2014/main" id="{DB3B1839-746D-0040-B4BF-DEAD14769839}"/>
              </a:ext>
            </a:extLst>
          </p:cNvPr>
          <p:cNvSpPr>
            <a:spLocks noGrp="1"/>
          </p:cNvSpPr>
          <p:nvPr>
            <p:ph type="title" hasCustomPrompt="1"/>
          </p:nvPr>
        </p:nvSpPr>
        <p:spPr>
          <a:xfrm>
            <a:off x="457201" y="355601"/>
            <a:ext cx="5524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7" y="806807"/>
            <a:ext cx="54959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6"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5495925" cy="451669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035549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plit call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9870961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687"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Freeform 5">
            <a:extLst>
              <a:ext uri="{FF2B5EF4-FFF2-40B4-BE49-F238E27FC236}">
                <a16:creationId xmlns:a16="http://schemas.microsoft.com/office/drawing/2014/main" id="{6C28D570-764E-8746-A9D3-AD94F6E88F8D}"/>
              </a:ext>
            </a:extLst>
          </p:cNvPr>
          <p:cNvSpPr/>
          <p:nvPr/>
        </p:nvSpPr>
        <p:spPr>
          <a:xfrm>
            <a:off x="8130488" y="0"/>
            <a:ext cx="4061512" cy="6858000"/>
          </a:xfrm>
          <a:custGeom>
            <a:avLst/>
            <a:gdLst>
              <a:gd name="connsiteX0" fmla="*/ 0 w 4061512"/>
              <a:gd name="connsiteY0" fmla="*/ 0 h 6858000"/>
              <a:gd name="connsiteX1" fmla="*/ 3147112 w 4061512"/>
              <a:gd name="connsiteY1" fmla="*/ 0 h 6858000"/>
              <a:gd name="connsiteX2" fmla="*/ 4035136 w 4061512"/>
              <a:gd name="connsiteY2" fmla="*/ 0 h 6858000"/>
              <a:gd name="connsiteX3" fmla="*/ 4061512 w 4061512"/>
              <a:gd name="connsiteY3" fmla="*/ 0 h 6858000"/>
              <a:gd name="connsiteX4" fmla="*/ 4061512 w 4061512"/>
              <a:gd name="connsiteY4" fmla="*/ 6858000 h 6858000"/>
              <a:gd name="connsiteX5" fmla="*/ 4035136 w 4061512"/>
              <a:gd name="connsiteY5" fmla="*/ 6858000 h 6858000"/>
              <a:gd name="connsiteX6" fmla="*/ 3147112 w 4061512"/>
              <a:gd name="connsiteY6" fmla="*/ 6858000 h 6858000"/>
              <a:gd name="connsiteX7" fmla="*/ 0 w 4061512"/>
              <a:gd name="connsiteY7" fmla="*/ 6858000 h 6858000"/>
              <a:gd name="connsiteX8" fmla="*/ 0 w 4061512"/>
              <a:gd name="connsiteY8" fmla="*/ 1863155 h 6858000"/>
              <a:gd name="connsiteX9" fmla="*/ 129886 w 4061512"/>
              <a:gd name="connsiteY9" fmla="*/ 1737014 h 6858000"/>
              <a:gd name="connsiteX10" fmla="*/ 0 w 4061512"/>
              <a:gd name="connsiteY10" fmla="*/ 16108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512" h="6858000">
                <a:moveTo>
                  <a:pt x="0" y="0"/>
                </a:moveTo>
                <a:lnTo>
                  <a:pt x="3147112" y="0"/>
                </a:lnTo>
                <a:lnTo>
                  <a:pt x="4035136" y="0"/>
                </a:lnTo>
                <a:lnTo>
                  <a:pt x="4061512" y="0"/>
                </a:lnTo>
                <a:lnTo>
                  <a:pt x="4061512" y="6858000"/>
                </a:lnTo>
                <a:lnTo>
                  <a:pt x="4035136" y="6858000"/>
                </a:lnTo>
                <a:lnTo>
                  <a:pt x="3147112" y="6858000"/>
                </a:lnTo>
                <a:lnTo>
                  <a:pt x="0" y="6858000"/>
                </a:lnTo>
                <a:lnTo>
                  <a:pt x="0" y="1863155"/>
                </a:lnTo>
                <a:lnTo>
                  <a:pt x="129886" y="1737014"/>
                </a:lnTo>
                <a:lnTo>
                  <a:pt x="0" y="1610874"/>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dirty="0"/>
          </a:p>
        </p:txBody>
      </p:sp>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7400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9"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7400925" cy="451669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353999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plit callout gradient">
    <p:spTree>
      <p:nvGrpSpPr>
        <p:cNvPr id="1" name=""/>
        <p:cNvGrpSpPr/>
        <p:nvPr/>
      </p:nvGrpSpPr>
      <p:grpSpPr>
        <a:xfrm>
          <a:off x="0" y="0"/>
          <a:ext cx="0" cy="0"/>
          <a:chOff x="0" y="0"/>
          <a:chExt cx="0" cy="0"/>
        </a:xfrm>
      </p:grpSpPr>
      <p:sp>
        <p:nvSpPr>
          <p:cNvPr id="11" name="Freeform 10">
            <a:extLst>
              <a:ext uri="{FF2B5EF4-FFF2-40B4-BE49-F238E27FC236}">
                <a16:creationId xmlns:a16="http://schemas.microsoft.com/office/drawing/2014/main" id="{6C28D570-764E-8746-A9D3-AD94F6E88F8D}"/>
              </a:ext>
            </a:extLst>
          </p:cNvPr>
          <p:cNvSpPr/>
          <p:nvPr userDrawn="1"/>
        </p:nvSpPr>
        <p:spPr>
          <a:xfrm>
            <a:off x="8130488" y="0"/>
            <a:ext cx="4061512" cy="6858000"/>
          </a:xfrm>
          <a:custGeom>
            <a:avLst/>
            <a:gdLst>
              <a:gd name="connsiteX0" fmla="*/ 0 w 4061512"/>
              <a:gd name="connsiteY0" fmla="*/ 0 h 6858000"/>
              <a:gd name="connsiteX1" fmla="*/ 3147112 w 4061512"/>
              <a:gd name="connsiteY1" fmla="*/ 0 h 6858000"/>
              <a:gd name="connsiteX2" fmla="*/ 4035136 w 4061512"/>
              <a:gd name="connsiteY2" fmla="*/ 0 h 6858000"/>
              <a:gd name="connsiteX3" fmla="*/ 4061512 w 4061512"/>
              <a:gd name="connsiteY3" fmla="*/ 0 h 6858000"/>
              <a:gd name="connsiteX4" fmla="*/ 4061512 w 4061512"/>
              <a:gd name="connsiteY4" fmla="*/ 6858000 h 6858000"/>
              <a:gd name="connsiteX5" fmla="*/ 4035136 w 4061512"/>
              <a:gd name="connsiteY5" fmla="*/ 6858000 h 6858000"/>
              <a:gd name="connsiteX6" fmla="*/ 3147112 w 4061512"/>
              <a:gd name="connsiteY6" fmla="*/ 6858000 h 6858000"/>
              <a:gd name="connsiteX7" fmla="*/ 0 w 4061512"/>
              <a:gd name="connsiteY7" fmla="*/ 6858000 h 6858000"/>
              <a:gd name="connsiteX8" fmla="*/ 0 w 4061512"/>
              <a:gd name="connsiteY8" fmla="*/ 1863155 h 6858000"/>
              <a:gd name="connsiteX9" fmla="*/ 129886 w 4061512"/>
              <a:gd name="connsiteY9" fmla="*/ 1737014 h 6858000"/>
              <a:gd name="connsiteX10" fmla="*/ 0 w 4061512"/>
              <a:gd name="connsiteY10" fmla="*/ 16108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512" h="6858000">
                <a:moveTo>
                  <a:pt x="0" y="0"/>
                </a:moveTo>
                <a:lnTo>
                  <a:pt x="3147112" y="0"/>
                </a:lnTo>
                <a:lnTo>
                  <a:pt x="4035136" y="0"/>
                </a:lnTo>
                <a:lnTo>
                  <a:pt x="4061512" y="0"/>
                </a:lnTo>
                <a:lnTo>
                  <a:pt x="4061512" y="6858000"/>
                </a:lnTo>
                <a:lnTo>
                  <a:pt x="4035136" y="6858000"/>
                </a:lnTo>
                <a:lnTo>
                  <a:pt x="3147112" y="6858000"/>
                </a:lnTo>
                <a:lnTo>
                  <a:pt x="0" y="6858000"/>
                </a:lnTo>
                <a:lnTo>
                  <a:pt x="0" y="1863155"/>
                </a:lnTo>
                <a:lnTo>
                  <a:pt x="129886" y="1737014"/>
                </a:lnTo>
                <a:lnTo>
                  <a:pt x="0" y="1610874"/>
                </a:lnTo>
                <a:close/>
              </a:path>
            </a:pathLst>
          </a:custGeom>
          <a:blipFill dpi="0" rotWithShape="1">
            <a:blip r:embed="rId4"/>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dirty="0"/>
          </a:p>
        </p:txBody>
      </p:sp>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5414"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7400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9"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7400925" cy="451669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41142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plit callout phot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6439"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7400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9"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7400925" cy="451669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Picture Placeholder 9"/>
          <p:cNvSpPr>
            <a:spLocks noGrp="1"/>
          </p:cNvSpPr>
          <p:nvPr>
            <p:ph type="pic" sz="quarter" idx="12" hasCustomPrompt="1"/>
          </p:nvPr>
        </p:nvSpPr>
        <p:spPr>
          <a:xfrm>
            <a:off x="8131175" y="0"/>
            <a:ext cx="4060825" cy="6858000"/>
          </a:xfrm>
          <a:custGeom>
            <a:avLst/>
            <a:gdLst>
              <a:gd name="connsiteX0" fmla="*/ 0 w 4060825"/>
              <a:gd name="connsiteY0" fmla="*/ 0 h 6858000"/>
              <a:gd name="connsiteX1" fmla="*/ 4060825 w 4060825"/>
              <a:gd name="connsiteY1" fmla="*/ 0 h 6858000"/>
              <a:gd name="connsiteX2" fmla="*/ 4060825 w 4060825"/>
              <a:gd name="connsiteY2" fmla="*/ 6858000 h 6858000"/>
              <a:gd name="connsiteX3" fmla="*/ 0 w 4060825"/>
              <a:gd name="connsiteY3" fmla="*/ 6858000 h 6858000"/>
              <a:gd name="connsiteX4" fmla="*/ 0 w 4060825"/>
              <a:gd name="connsiteY4" fmla="*/ 1861958 h 6858000"/>
              <a:gd name="connsiteX5" fmla="*/ 124598 w 4060825"/>
              <a:gd name="connsiteY5" fmla="*/ 1737360 h 6858000"/>
              <a:gd name="connsiteX6" fmla="*/ 0 w 4060825"/>
              <a:gd name="connsiteY6" fmla="*/ 161276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0825" h="6858000">
                <a:moveTo>
                  <a:pt x="0" y="0"/>
                </a:moveTo>
                <a:lnTo>
                  <a:pt x="4060825" y="0"/>
                </a:lnTo>
                <a:lnTo>
                  <a:pt x="4060825" y="6858000"/>
                </a:lnTo>
                <a:lnTo>
                  <a:pt x="0" y="6858000"/>
                </a:lnTo>
                <a:lnTo>
                  <a:pt x="0" y="1861958"/>
                </a:lnTo>
                <a:lnTo>
                  <a:pt x="124598" y="1737360"/>
                </a:lnTo>
                <a:lnTo>
                  <a:pt x="0" y="1612762"/>
                </a:lnTo>
                <a:close/>
              </a:path>
            </a:pathLst>
          </a:custGeom>
          <a:solidFill>
            <a:srgbClr val="F0F0F0"/>
          </a:solidFill>
        </p:spPr>
        <p:txBody>
          <a:bodyPr wrap="square">
            <a:noAutofit/>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Tree>
    <p:extLst>
      <p:ext uri="{BB962C8B-B14F-4D97-AF65-F5344CB8AC3E}">
        <p14:creationId xmlns:p14="http://schemas.microsoft.com/office/powerpoint/2010/main" val="17301917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37693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ONTENT + IMAG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8730"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C6A0CCC6-7BFA-B74B-BE8E-833BC82918F0}"/>
              </a:ext>
            </a:extLst>
          </p:cNvPr>
          <p:cNvSpPr txBox="1"/>
          <p:nvPr/>
        </p:nvSpPr>
        <p:spPr>
          <a:xfrm>
            <a:off x="374977" y="1582341"/>
            <a:ext cx="8423034" cy="3693319"/>
          </a:xfrm>
          <a:prstGeom prst="rect">
            <a:avLst/>
          </a:prstGeom>
          <a:noFill/>
        </p:spPr>
        <p:txBody>
          <a:bodyPr wrap="square" lIns="0" tIns="0" rIns="0" bIns="0" rtlCol="0" anchor="ctr">
            <a:spAutoFit/>
          </a:bodyPr>
          <a:lstStyle/>
          <a:p>
            <a:pPr algn="l"/>
            <a:r>
              <a:rPr lang="en-US" sz="12000" b="1" i="0" dirty="0" smtClean="0">
                <a:solidFill>
                  <a:schemeClr val="bg1"/>
                </a:solidFill>
                <a:latin typeface="Arial" panose="020B0604020202020204" pitchFamily="34" charset="0"/>
                <a:cs typeface="Arial" panose="020B0604020202020204" pitchFamily="34" charset="0"/>
              </a:rPr>
              <a:t>Content +  image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129950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 Image backgroun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extLst>
              <p:ext uri="{D42A27DB-BD31-4B8C-83A1-F6EECF244321}">
                <p14:modId xmlns:p14="http://schemas.microsoft.com/office/powerpoint/2010/main" val="24870090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732"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735B67BB-4145-CB43-9042-99F21E43E2EB}"/>
              </a:ext>
            </a:extLst>
          </p:cNvPr>
          <p:cNvSpPr>
            <a:spLocks noGrp="1"/>
          </p:cNvSpPr>
          <p:nvPr>
            <p:ph type="pic" sz="quarter" idx="12" hasCustomPrompt="1"/>
          </p:nvPr>
        </p:nvSpPr>
        <p:spPr>
          <a:xfrm>
            <a:off x="1" y="0"/>
            <a:ext cx="12192000" cy="6858000"/>
          </a:xfrm>
          <a:solidFill>
            <a:srgbClr val="F0F0F0"/>
          </a:solidFill>
        </p:spPr>
        <p:txBody>
          <a:bodyPr/>
          <a:lstStyle>
            <a:lvl1pPr>
              <a:defRPr sz="1200">
                <a:solidFill>
                  <a:srgbClr val="FF0000"/>
                </a:solidFill>
              </a:defRPr>
            </a:lvl1pPr>
          </a:lstStyle>
          <a:p>
            <a:r>
              <a:rPr lang="en-US" dirty="0"/>
              <a:t>Bring picture placeholder to front. Click on picture icon to insert picture. Reset layout and send picture to back.</a:t>
            </a:r>
          </a:p>
        </p:txBody>
      </p:sp>
      <p:sp>
        <p:nvSpPr>
          <p:cNvPr id="8" name="Title 7">
            <a:extLst>
              <a:ext uri="{FF2B5EF4-FFF2-40B4-BE49-F238E27FC236}">
                <a16:creationId xmlns:a16="http://schemas.microsoft.com/office/drawing/2014/main" id="{F3F7DAD6-9BB0-734A-B0C2-5B0A76C9FD6E}"/>
              </a:ext>
            </a:extLst>
          </p:cNvPr>
          <p:cNvSpPr>
            <a:spLocks noGrp="1"/>
          </p:cNvSpPr>
          <p:nvPr>
            <p:ph type="title" hasCustomPrompt="1"/>
          </p:nvPr>
        </p:nvSpPr>
        <p:spPr>
          <a:xfrm>
            <a:off x="438912" y="1619247"/>
            <a:ext cx="5495924" cy="1495428"/>
          </a:xfrm>
        </p:spPr>
        <p:txBody>
          <a:bodyPr vert="horz"/>
          <a:lstStyle>
            <a:lvl1pPr>
              <a:defRPr sz="5600">
                <a:solidFill>
                  <a:schemeClr val="bg1"/>
                </a:solidFill>
              </a:defRPr>
            </a:lvl1pPr>
          </a:lstStyle>
          <a:p>
            <a:r>
              <a:rPr lang="en-US" dirty="0"/>
              <a:t>Click to add title</a:t>
            </a:r>
          </a:p>
        </p:txBody>
      </p:sp>
      <p:sp>
        <p:nvSpPr>
          <p:cNvPr id="26" name="Text Placeholder 25">
            <a:extLst>
              <a:ext uri="{FF2B5EF4-FFF2-40B4-BE49-F238E27FC236}">
                <a16:creationId xmlns:a16="http://schemas.microsoft.com/office/drawing/2014/main" id="{01D5F8C2-80B5-BD4F-91F7-1B8D6A3ACFB6}"/>
              </a:ext>
            </a:extLst>
          </p:cNvPr>
          <p:cNvSpPr>
            <a:spLocks noGrp="1"/>
          </p:cNvSpPr>
          <p:nvPr>
            <p:ph type="body" sz="quarter" idx="13"/>
          </p:nvPr>
        </p:nvSpPr>
        <p:spPr>
          <a:xfrm>
            <a:off x="485776" y="3315923"/>
            <a:ext cx="5495924" cy="2805477"/>
          </a:xfrm>
        </p:spPr>
        <p:txBody>
          <a:bodyPr/>
          <a:lstStyle>
            <a:lvl1pPr>
              <a:defRPr sz="2000" b="1">
                <a:solidFill>
                  <a:schemeClr val="bg1"/>
                </a:solidFill>
              </a:defRPr>
            </a:lvl1pPr>
            <a:lvl2pPr>
              <a:defRPr sz="2000">
                <a:solidFill>
                  <a:schemeClr val="bg1"/>
                </a:solidFill>
              </a:defRPr>
            </a:lvl2pPr>
          </a:lstStyle>
          <a:p>
            <a:pPr lvl="0"/>
            <a:r>
              <a:rPr lang="en-US" smtClean="0"/>
              <a:t>Edit Master text styles</a:t>
            </a:r>
          </a:p>
          <a:p>
            <a:pPr lvl="1"/>
            <a:r>
              <a:rPr lang="en-US" smtClean="0"/>
              <a:t>Second level</a:t>
            </a:r>
          </a:p>
        </p:txBody>
      </p:sp>
    </p:spTree>
    <p:extLst>
      <p:ext uri="{BB962C8B-B14F-4D97-AF65-F5344CB8AC3E}">
        <p14:creationId xmlns:p14="http://schemas.microsoft.com/office/powerpoint/2010/main" val="11074115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 1up">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extLst>
              <p:ext uri="{D42A27DB-BD31-4B8C-83A1-F6EECF244321}">
                <p14:modId xmlns:p14="http://schemas.microsoft.com/office/powerpoint/2010/main" val="37654885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757"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8AED69B9-B4F1-004C-A77F-27A6FA2E5B93}"/>
              </a:ext>
            </a:extLst>
          </p:cNvPr>
          <p:cNvSpPr>
            <a:spLocks noGrp="1"/>
          </p:cNvSpPr>
          <p:nvPr>
            <p:ph sz="quarter" idx="11"/>
          </p:nvPr>
        </p:nvSpPr>
        <p:spPr>
          <a:xfrm>
            <a:off x="485777" y="1609725"/>
            <a:ext cx="7400923" cy="4519867"/>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Picture Placeholder 10">
            <a:extLst>
              <a:ext uri="{FF2B5EF4-FFF2-40B4-BE49-F238E27FC236}">
                <a16:creationId xmlns:a16="http://schemas.microsoft.com/office/drawing/2014/main" id="{735B67BB-4145-CB43-9042-99F21E43E2EB}"/>
              </a:ext>
            </a:extLst>
          </p:cNvPr>
          <p:cNvSpPr>
            <a:spLocks noGrp="1"/>
          </p:cNvSpPr>
          <p:nvPr>
            <p:ph type="pic" sz="quarter" idx="12" hasCustomPrompt="1"/>
          </p:nvPr>
        </p:nvSpPr>
        <p:spPr>
          <a:xfrm>
            <a:off x="8128001" y="119959"/>
            <a:ext cx="3940174" cy="6618082"/>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0" name="Title 1">
            <a:extLst>
              <a:ext uri="{FF2B5EF4-FFF2-40B4-BE49-F238E27FC236}">
                <a16:creationId xmlns:a16="http://schemas.microsoft.com/office/drawing/2014/main" id="{EAEFB055-FB93-6449-B5E1-10B3AB4A19FD}"/>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E243AFB7-5041-9B4B-8CEB-9A5E8F8695ED}"/>
              </a:ext>
            </a:extLst>
          </p:cNvPr>
          <p:cNvSpPr>
            <a:spLocks noGrp="1"/>
          </p:cNvSpPr>
          <p:nvPr>
            <p:ph type="body" sz="half" idx="2" hasCustomPrompt="1"/>
          </p:nvPr>
        </p:nvSpPr>
        <p:spPr>
          <a:xfrm>
            <a:off x="485776" y="806807"/>
            <a:ext cx="7410633"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8671145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 2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35094729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781"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10">
            <a:extLst>
              <a:ext uri="{FF2B5EF4-FFF2-40B4-BE49-F238E27FC236}">
                <a16:creationId xmlns:a16="http://schemas.microsoft.com/office/drawing/2014/main" id="{1031E9E1-2938-814C-965B-19D14975B268}"/>
              </a:ext>
            </a:extLst>
          </p:cNvPr>
          <p:cNvSpPr>
            <a:spLocks noGrp="1"/>
          </p:cNvSpPr>
          <p:nvPr>
            <p:ph type="pic" sz="quarter" idx="12" hasCustomPrompt="1"/>
          </p:nvPr>
        </p:nvSpPr>
        <p:spPr>
          <a:xfrm>
            <a:off x="4305300" y="358775"/>
            <a:ext cx="7762875" cy="3009900"/>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hasCustomPrompt="1"/>
          </p:nvPr>
        </p:nvSpPr>
        <p:spPr>
          <a:xfrm>
            <a:off x="4305300" y="3493742"/>
            <a:ext cx="7762875" cy="2881658"/>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3" name="Content Placeholder 2"/>
          <p:cNvSpPr>
            <a:spLocks noGrp="1"/>
          </p:cNvSpPr>
          <p:nvPr>
            <p:ph sz="half" idx="1"/>
          </p:nvPr>
        </p:nvSpPr>
        <p:spPr>
          <a:xfrm>
            <a:off x="485776" y="1609725"/>
            <a:ext cx="3578224" cy="450850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p:txBody>
      </p:sp>
      <p:sp>
        <p:nvSpPr>
          <p:cNvPr id="9" name="Title 1">
            <a:extLst>
              <a:ext uri="{FF2B5EF4-FFF2-40B4-BE49-F238E27FC236}">
                <a16:creationId xmlns:a16="http://schemas.microsoft.com/office/drawing/2014/main" id="{189225C4-8365-8740-B93B-01403F28E601}"/>
              </a:ext>
            </a:extLst>
          </p:cNvPr>
          <p:cNvSpPr>
            <a:spLocks noGrp="1"/>
          </p:cNvSpPr>
          <p:nvPr>
            <p:ph type="title" hasCustomPrompt="1"/>
          </p:nvPr>
        </p:nvSpPr>
        <p:spPr>
          <a:xfrm>
            <a:off x="457201" y="355601"/>
            <a:ext cx="3606800" cy="752474"/>
          </a:xfrm>
        </p:spPr>
        <p:txBody>
          <a:bodyPr vert="horz"/>
          <a:lstStyle/>
          <a:p>
            <a:r>
              <a:rPr lang="en-US" dirty="0"/>
              <a:t>Click to add title</a:t>
            </a:r>
          </a:p>
        </p:txBody>
      </p:sp>
    </p:spTree>
    <p:extLst>
      <p:ext uri="{BB962C8B-B14F-4D97-AF65-F5344CB8AC3E}">
        <p14:creationId xmlns:p14="http://schemas.microsoft.com/office/powerpoint/2010/main" val="41285503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 + 3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3708806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805"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hasCustomPrompt="1"/>
          </p:nvPr>
        </p:nvSpPr>
        <p:spPr>
          <a:xfrm>
            <a:off x="4305300" y="3493742"/>
            <a:ext cx="7762875" cy="2881658"/>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2" name="Picture Placeholder 10">
            <a:extLst>
              <a:ext uri="{FF2B5EF4-FFF2-40B4-BE49-F238E27FC236}">
                <a16:creationId xmlns:a16="http://schemas.microsoft.com/office/drawing/2014/main" id="{86D97FC1-1436-AE4B-A0BC-E2E020B6104B}"/>
              </a:ext>
            </a:extLst>
          </p:cNvPr>
          <p:cNvSpPr>
            <a:spLocks noGrp="1"/>
          </p:cNvSpPr>
          <p:nvPr>
            <p:ph type="pic" sz="quarter" idx="14" hasCustomPrompt="1"/>
          </p:nvPr>
        </p:nvSpPr>
        <p:spPr>
          <a:xfrm>
            <a:off x="8185678" y="358775"/>
            <a:ext cx="3882498" cy="3009900"/>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5" name="Picture Placeholder 10">
            <a:extLst>
              <a:ext uri="{FF2B5EF4-FFF2-40B4-BE49-F238E27FC236}">
                <a16:creationId xmlns:a16="http://schemas.microsoft.com/office/drawing/2014/main" id="{BC987E18-8715-1944-B602-040A7437FAB6}"/>
              </a:ext>
            </a:extLst>
          </p:cNvPr>
          <p:cNvSpPr>
            <a:spLocks noGrp="1"/>
          </p:cNvSpPr>
          <p:nvPr>
            <p:ph type="pic" sz="quarter" idx="12" hasCustomPrompt="1"/>
          </p:nvPr>
        </p:nvSpPr>
        <p:spPr>
          <a:xfrm>
            <a:off x="4305300" y="358775"/>
            <a:ext cx="3742665" cy="3009900"/>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3" name="Content Placeholder 2"/>
          <p:cNvSpPr>
            <a:spLocks noGrp="1"/>
          </p:cNvSpPr>
          <p:nvPr>
            <p:ph sz="half" idx="1"/>
          </p:nvPr>
        </p:nvSpPr>
        <p:spPr>
          <a:xfrm>
            <a:off x="485776" y="1609725"/>
            <a:ext cx="3578224" cy="450850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p:txBody>
      </p:sp>
      <p:sp>
        <p:nvSpPr>
          <p:cNvPr id="9" name="Title 1">
            <a:extLst>
              <a:ext uri="{FF2B5EF4-FFF2-40B4-BE49-F238E27FC236}">
                <a16:creationId xmlns:a16="http://schemas.microsoft.com/office/drawing/2014/main" id="{DAB781F8-68B2-BC49-8993-F85CEFB0A3B4}"/>
              </a:ext>
            </a:extLst>
          </p:cNvPr>
          <p:cNvSpPr>
            <a:spLocks noGrp="1"/>
          </p:cNvSpPr>
          <p:nvPr>
            <p:ph type="title" hasCustomPrompt="1"/>
          </p:nvPr>
        </p:nvSpPr>
        <p:spPr>
          <a:xfrm>
            <a:off x="457201" y="355601"/>
            <a:ext cx="3606800" cy="752474"/>
          </a:xfrm>
        </p:spPr>
        <p:txBody>
          <a:bodyPr vert="horz"/>
          <a:lstStyle/>
          <a:p>
            <a:r>
              <a:rPr lang="en-US" dirty="0"/>
              <a:t>Click to add title</a:t>
            </a:r>
          </a:p>
        </p:txBody>
      </p:sp>
    </p:spTree>
    <p:extLst>
      <p:ext uri="{BB962C8B-B14F-4D97-AF65-F5344CB8AC3E}">
        <p14:creationId xmlns:p14="http://schemas.microsoft.com/office/powerpoint/2010/main" val="34977471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extLst>
              <p:ext uri="{D42A27DB-BD31-4B8C-83A1-F6EECF244321}">
                <p14:modId xmlns:p14="http://schemas.microsoft.com/office/powerpoint/2010/main" val="10553001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469"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773DA736-E5DF-844D-B5DD-D8BB742411F8}"/>
              </a:ext>
            </a:extLst>
          </p:cNvPr>
          <p:cNvSpPr>
            <a:spLocks noGrp="1"/>
          </p:cNvSpPr>
          <p:nvPr>
            <p:ph type="body" sz="half" idx="10"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7"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11223624" cy="451669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1" name="Text Placeholder 3">
            <a:extLst>
              <a:ext uri="{FF2B5EF4-FFF2-40B4-BE49-F238E27FC236}">
                <a16:creationId xmlns:a16="http://schemas.microsoft.com/office/drawing/2014/main" id="{F2D0924E-7A15-6045-86EA-6E2333478DE4}"/>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6134981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ent + 3up modu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21829578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829"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3" name="Picture Placeholder 10">
            <a:extLst>
              <a:ext uri="{FF2B5EF4-FFF2-40B4-BE49-F238E27FC236}">
                <a16:creationId xmlns:a16="http://schemas.microsoft.com/office/drawing/2014/main" id="{06D1C5D0-6FBD-DC40-BF13-9C09EFC9B450}"/>
              </a:ext>
            </a:extLst>
          </p:cNvPr>
          <p:cNvSpPr>
            <a:spLocks noGrp="1"/>
          </p:cNvSpPr>
          <p:nvPr>
            <p:ph type="pic" sz="quarter" idx="12" hasCustomPrompt="1"/>
          </p:nvPr>
        </p:nvSpPr>
        <p:spPr>
          <a:xfrm>
            <a:off x="4305300" y="358775"/>
            <a:ext cx="3822700" cy="3009900"/>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4" name="Picture Placeholder 10">
            <a:extLst>
              <a:ext uri="{FF2B5EF4-FFF2-40B4-BE49-F238E27FC236}">
                <a16:creationId xmlns:a16="http://schemas.microsoft.com/office/drawing/2014/main" id="{52B98AD3-DEEF-4E4E-A5E7-207AD9EDE0A4}"/>
              </a:ext>
            </a:extLst>
          </p:cNvPr>
          <p:cNvSpPr>
            <a:spLocks noGrp="1"/>
          </p:cNvSpPr>
          <p:nvPr>
            <p:ph type="pic" sz="quarter" idx="14" hasCustomPrompt="1"/>
          </p:nvPr>
        </p:nvSpPr>
        <p:spPr>
          <a:xfrm>
            <a:off x="8226964" y="3493742"/>
            <a:ext cx="3841211" cy="2881658"/>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5" name="Picture Placeholder 10">
            <a:extLst>
              <a:ext uri="{FF2B5EF4-FFF2-40B4-BE49-F238E27FC236}">
                <a16:creationId xmlns:a16="http://schemas.microsoft.com/office/drawing/2014/main" id="{05DBA6C8-E574-1C41-BF14-D1988A1F09BB}"/>
              </a:ext>
            </a:extLst>
          </p:cNvPr>
          <p:cNvSpPr>
            <a:spLocks noGrp="1"/>
          </p:cNvSpPr>
          <p:nvPr>
            <p:ph type="pic" sz="quarter" idx="15" hasCustomPrompt="1"/>
          </p:nvPr>
        </p:nvSpPr>
        <p:spPr>
          <a:xfrm>
            <a:off x="123826" y="3493742"/>
            <a:ext cx="4104142" cy="2881658"/>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6" name="Text Placeholder 3">
            <a:extLst>
              <a:ext uri="{FF2B5EF4-FFF2-40B4-BE49-F238E27FC236}">
                <a16:creationId xmlns:a16="http://schemas.microsoft.com/office/drawing/2014/main" id="{450CA7BF-D868-9C46-B4DE-128E2C7369C1}"/>
              </a:ext>
            </a:extLst>
          </p:cNvPr>
          <p:cNvSpPr>
            <a:spLocks noGrp="1"/>
          </p:cNvSpPr>
          <p:nvPr>
            <p:ph type="body" sz="half" idx="2" hasCustomPrompt="1"/>
          </p:nvPr>
        </p:nvSpPr>
        <p:spPr>
          <a:xfrm>
            <a:off x="485777" y="358775"/>
            <a:ext cx="3578224" cy="3019424"/>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content</a:t>
            </a:r>
          </a:p>
        </p:txBody>
      </p:sp>
      <p:sp>
        <p:nvSpPr>
          <p:cNvPr id="17" name="Text Placeholder 3">
            <a:extLst>
              <a:ext uri="{FF2B5EF4-FFF2-40B4-BE49-F238E27FC236}">
                <a16:creationId xmlns:a16="http://schemas.microsoft.com/office/drawing/2014/main" id="{ABA9015E-F6D4-0A41-87F6-DE612B8F621A}"/>
              </a:ext>
            </a:extLst>
          </p:cNvPr>
          <p:cNvSpPr>
            <a:spLocks noGrp="1"/>
          </p:cNvSpPr>
          <p:nvPr>
            <p:ph type="body" sz="half" idx="16" hasCustomPrompt="1"/>
          </p:nvPr>
        </p:nvSpPr>
        <p:spPr>
          <a:xfrm>
            <a:off x="8289863" y="358774"/>
            <a:ext cx="3546537" cy="2965449"/>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content</a:t>
            </a:r>
          </a:p>
        </p:txBody>
      </p:sp>
      <p:sp>
        <p:nvSpPr>
          <p:cNvPr id="18" name="Text Placeholder 3">
            <a:extLst>
              <a:ext uri="{FF2B5EF4-FFF2-40B4-BE49-F238E27FC236}">
                <a16:creationId xmlns:a16="http://schemas.microsoft.com/office/drawing/2014/main" id="{9BFDCF20-88FB-6C4F-AD7A-8B859EBAB09C}"/>
              </a:ext>
            </a:extLst>
          </p:cNvPr>
          <p:cNvSpPr>
            <a:spLocks noGrp="1"/>
          </p:cNvSpPr>
          <p:nvPr>
            <p:ph type="body" sz="half" idx="17" hasCustomPrompt="1"/>
          </p:nvPr>
        </p:nvSpPr>
        <p:spPr>
          <a:xfrm>
            <a:off x="4396873" y="3811323"/>
            <a:ext cx="3657599" cy="2564078"/>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content</a:t>
            </a:r>
          </a:p>
        </p:txBody>
      </p:sp>
    </p:spTree>
    <p:extLst>
      <p:ext uri="{BB962C8B-B14F-4D97-AF65-F5344CB8AC3E}">
        <p14:creationId xmlns:p14="http://schemas.microsoft.com/office/powerpoint/2010/main" val="30357690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t + 4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356814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9853"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10">
            <a:extLst>
              <a:ext uri="{FF2B5EF4-FFF2-40B4-BE49-F238E27FC236}">
                <a16:creationId xmlns:a16="http://schemas.microsoft.com/office/drawing/2014/main" id="{1031E9E1-2938-814C-965B-19D14975B268}"/>
              </a:ext>
            </a:extLst>
          </p:cNvPr>
          <p:cNvSpPr>
            <a:spLocks noGrp="1"/>
          </p:cNvSpPr>
          <p:nvPr>
            <p:ph type="pic" sz="quarter" idx="12" hasCustomPrompt="1"/>
          </p:nvPr>
        </p:nvSpPr>
        <p:spPr>
          <a:xfrm>
            <a:off x="4305301" y="358775"/>
            <a:ext cx="3785416" cy="3009900"/>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hasCustomPrompt="1"/>
          </p:nvPr>
        </p:nvSpPr>
        <p:spPr>
          <a:xfrm>
            <a:off x="4305300" y="3493742"/>
            <a:ext cx="3785415" cy="2881658"/>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2" name="Picture Placeholder 10">
            <a:extLst>
              <a:ext uri="{FF2B5EF4-FFF2-40B4-BE49-F238E27FC236}">
                <a16:creationId xmlns:a16="http://schemas.microsoft.com/office/drawing/2014/main" id="{86D97FC1-1436-AE4B-A0BC-E2E020B6104B}"/>
              </a:ext>
            </a:extLst>
          </p:cNvPr>
          <p:cNvSpPr>
            <a:spLocks noGrp="1"/>
          </p:cNvSpPr>
          <p:nvPr>
            <p:ph type="pic" sz="quarter" idx="14" hasCustomPrompt="1"/>
          </p:nvPr>
        </p:nvSpPr>
        <p:spPr>
          <a:xfrm>
            <a:off x="8226964" y="358775"/>
            <a:ext cx="3841211" cy="3009900"/>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8" name="Picture Placeholder 10">
            <a:extLst>
              <a:ext uri="{FF2B5EF4-FFF2-40B4-BE49-F238E27FC236}">
                <a16:creationId xmlns:a16="http://schemas.microsoft.com/office/drawing/2014/main" id="{B2831122-E8DB-534C-BD66-BD9BFD1BC822}"/>
              </a:ext>
            </a:extLst>
          </p:cNvPr>
          <p:cNvSpPr>
            <a:spLocks noGrp="1"/>
          </p:cNvSpPr>
          <p:nvPr>
            <p:ph type="pic" sz="quarter" idx="15" hasCustomPrompt="1"/>
          </p:nvPr>
        </p:nvSpPr>
        <p:spPr>
          <a:xfrm>
            <a:off x="8226964" y="3493742"/>
            <a:ext cx="3841211" cy="2881658"/>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3" name="Content Placeholder 2"/>
          <p:cNvSpPr>
            <a:spLocks noGrp="1"/>
          </p:cNvSpPr>
          <p:nvPr>
            <p:ph sz="half" idx="1"/>
          </p:nvPr>
        </p:nvSpPr>
        <p:spPr>
          <a:xfrm>
            <a:off x="485776" y="1609725"/>
            <a:ext cx="3578224" cy="4508499"/>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p:txBody>
      </p:sp>
      <p:sp>
        <p:nvSpPr>
          <p:cNvPr id="13" name="Title 1">
            <a:extLst>
              <a:ext uri="{FF2B5EF4-FFF2-40B4-BE49-F238E27FC236}">
                <a16:creationId xmlns:a16="http://schemas.microsoft.com/office/drawing/2014/main" id="{B329BC4F-7509-4849-AAA2-704C43361D2E}"/>
              </a:ext>
            </a:extLst>
          </p:cNvPr>
          <p:cNvSpPr>
            <a:spLocks noGrp="1"/>
          </p:cNvSpPr>
          <p:nvPr>
            <p:ph type="title" hasCustomPrompt="1"/>
          </p:nvPr>
        </p:nvSpPr>
        <p:spPr>
          <a:xfrm>
            <a:off x="457201" y="355601"/>
            <a:ext cx="3606800" cy="752474"/>
          </a:xfrm>
        </p:spPr>
        <p:txBody>
          <a:bodyPr vert="horz"/>
          <a:lstStyle/>
          <a:p>
            <a:r>
              <a:rPr lang="en-US" dirty="0"/>
              <a:t>Click to add title</a:t>
            </a:r>
          </a:p>
        </p:txBody>
      </p:sp>
    </p:spTree>
    <p:extLst>
      <p:ext uri="{BB962C8B-B14F-4D97-AF65-F5344CB8AC3E}">
        <p14:creationId xmlns:p14="http://schemas.microsoft.com/office/powerpoint/2010/main" val="6438232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COV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2"/>
            </p:custDataLst>
            <p:extLst>
              <p:ext uri="{D42A27DB-BD31-4B8C-83A1-F6EECF244321}">
                <p14:modId xmlns:p14="http://schemas.microsoft.com/office/powerpoint/2010/main" val="13040087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7261"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BA7BA343-6086-A542-94F9-DEB6382B60AA}"/>
              </a:ext>
            </a:extLst>
          </p:cNvPr>
          <p:cNvSpPr txBox="1"/>
          <p:nvPr/>
        </p:nvSpPr>
        <p:spPr>
          <a:xfrm>
            <a:off x="374977" y="2505671"/>
            <a:ext cx="5217775" cy="1846659"/>
          </a:xfrm>
          <a:prstGeom prst="rect">
            <a:avLst/>
          </a:prstGeom>
          <a:noFill/>
        </p:spPr>
        <p:txBody>
          <a:bodyPr wrap="none" lIns="0" tIns="0" rIns="0" bIns="0" rtlCol="0" anchor="ctr">
            <a:spAutoFit/>
          </a:bodyPr>
          <a:lstStyle/>
          <a:p>
            <a:pPr algn="l"/>
            <a:r>
              <a:rPr lang="en-US" sz="12000" b="1" i="0" dirty="0" smtClean="0">
                <a:solidFill>
                  <a:schemeClr val="bg1"/>
                </a:solidFill>
                <a:latin typeface="Arial" panose="020B0604020202020204" pitchFamily="34" charset="0"/>
                <a:cs typeface="Arial" panose="020B0604020202020204" pitchFamily="34" charset="0"/>
              </a:rPr>
              <a:t>Cover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730433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A: image box">
    <p:bg>
      <p:bgPr>
        <a:solidFill>
          <a:schemeClr val="tx2"/>
        </a:solidFill>
        <a:effectLst/>
      </p:bgPr>
    </p:bg>
    <p:spTree>
      <p:nvGrpSpPr>
        <p:cNvPr id="1" name=""/>
        <p:cNvGrpSpPr/>
        <p:nvPr/>
      </p:nvGrpSpPr>
      <p:grpSpPr>
        <a:xfrm>
          <a:off x="0" y="0"/>
          <a:ext cx="0" cy="0"/>
          <a:chOff x="0" y="0"/>
          <a:chExt cx="0" cy="0"/>
        </a:xfrm>
      </p:grpSpPr>
      <p:sp>
        <p:nvSpPr>
          <p:cNvPr id="69" name="Rectangle 68"/>
          <p:cNvSpPr/>
          <p:nvPr userDrawn="1"/>
        </p:nvSpPr>
        <p:spPr>
          <a:xfrm>
            <a:off x="355599" y="6121400"/>
            <a:ext cx="2032001" cy="4953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2" name="Picture Placeholder 71">
            <a:extLst>
              <a:ext uri="{FF2B5EF4-FFF2-40B4-BE49-F238E27FC236}">
                <a16:creationId xmlns:a16="http://schemas.microsoft.com/office/drawing/2014/main" id="{73319BE5-0EF3-DD4B-B826-A8E9F0755285}"/>
              </a:ext>
            </a:extLst>
          </p:cNvPr>
          <p:cNvSpPr>
            <a:spLocks noGrp="1"/>
          </p:cNvSpPr>
          <p:nvPr>
            <p:ph type="pic" sz="quarter" idx="10" hasCustomPrompt="1"/>
          </p:nvPr>
        </p:nvSpPr>
        <p:spPr>
          <a:xfrm>
            <a:off x="-1" y="-1"/>
            <a:ext cx="12191999" cy="6858001"/>
          </a:xfrm>
          <a:custGeom>
            <a:avLst/>
            <a:gdLst>
              <a:gd name="connsiteX0" fmla="*/ 2154182 w 12191999"/>
              <a:gd name="connsiteY0" fmla="*/ 6348735 h 6858001"/>
              <a:gd name="connsiteX1" fmla="*/ 2154182 w 12191999"/>
              <a:gd name="connsiteY1" fmla="*/ 6352726 h 6858001"/>
              <a:gd name="connsiteX2" fmla="*/ 2152428 w 12191999"/>
              <a:gd name="connsiteY2" fmla="*/ 6363609 h 6858001"/>
              <a:gd name="connsiteX3" fmla="*/ 2145233 w 12191999"/>
              <a:gd name="connsiteY3" fmla="*/ 6371136 h 6858001"/>
              <a:gd name="connsiteX4" fmla="*/ 2134048 w 12191999"/>
              <a:gd name="connsiteY4" fmla="*/ 6373887 h 6858001"/>
              <a:gd name="connsiteX5" fmla="*/ 2124404 w 12191999"/>
              <a:gd name="connsiteY5" fmla="*/ 6370985 h 6858001"/>
              <a:gd name="connsiteX6" fmla="*/ 2121109 w 12191999"/>
              <a:gd name="connsiteY6" fmla="*/ 6363730 h 6858001"/>
              <a:gd name="connsiteX7" fmla="*/ 2122621 w 12191999"/>
              <a:gd name="connsiteY7" fmla="*/ 6358560 h 6858001"/>
              <a:gd name="connsiteX8" fmla="*/ 2126913 w 12191999"/>
              <a:gd name="connsiteY8" fmla="*/ 6355023 h 6858001"/>
              <a:gd name="connsiteX9" fmla="*/ 2136406 w 12191999"/>
              <a:gd name="connsiteY9" fmla="*/ 6352847 h 6858001"/>
              <a:gd name="connsiteX10" fmla="*/ 2154182 w 12191999"/>
              <a:gd name="connsiteY10" fmla="*/ 6348735 h 6858001"/>
              <a:gd name="connsiteX11" fmla="*/ 1430281 w 12191999"/>
              <a:gd name="connsiteY11" fmla="*/ 6348735 h 6858001"/>
              <a:gd name="connsiteX12" fmla="*/ 1430281 w 12191999"/>
              <a:gd name="connsiteY12" fmla="*/ 6352726 h 6858001"/>
              <a:gd name="connsiteX13" fmla="*/ 1428528 w 12191999"/>
              <a:gd name="connsiteY13" fmla="*/ 6363609 h 6858001"/>
              <a:gd name="connsiteX14" fmla="*/ 1421333 w 12191999"/>
              <a:gd name="connsiteY14" fmla="*/ 6371136 h 6858001"/>
              <a:gd name="connsiteX15" fmla="*/ 1410148 w 12191999"/>
              <a:gd name="connsiteY15" fmla="*/ 6373887 h 6858001"/>
              <a:gd name="connsiteX16" fmla="*/ 1400504 w 12191999"/>
              <a:gd name="connsiteY16" fmla="*/ 6370985 h 6858001"/>
              <a:gd name="connsiteX17" fmla="*/ 1397209 w 12191999"/>
              <a:gd name="connsiteY17" fmla="*/ 6363730 h 6858001"/>
              <a:gd name="connsiteX18" fmla="*/ 1398721 w 12191999"/>
              <a:gd name="connsiteY18" fmla="*/ 6358560 h 6858001"/>
              <a:gd name="connsiteX19" fmla="*/ 1403013 w 12191999"/>
              <a:gd name="connsiteY19" fmla="*/ 6355023 h 6858001"/>
              <a:gd name="connsiteX20" fmla="*/ 1412506 w 12191999"/>
              <a:gd name="connsiteY20" fmla="*/ 6352847 h 6858001"/>
              <a:gd name="connsiteX21" fmla="*/ 1430281 w 12191999"/>
              <a:gd name="connsiteY21" fmla="*/ 6348735 h 6858001"/>
              <a:gd name="connsiteX22" fmla="*/ 1167698 w 12191999"/>
              <a:gd name="connsiteY22" fmla="*/ 6324309 h 6858001"/>
              <a:gd name="connsiteX23" fmla="*/ 1181150 w 12191999"/>
              <a:gd name="connsiteY23" fmla="*/ 6330446 h 6858001"/>
              <a:gd name="connsiteX24" fmla="*/ 1186561 w 12191999"/>
              <a:gd name="connsiteY24" fmla="*/ 6348493 h 6858001"/>
              <a:gd name="connsiteX25" fmla="*/ 1181180 w 12191999"/>
              <a:gd name="connsiteY25" fmla="*/ 6367297 h 6858001"/>
              <a:gd name="connsiteX26" fmla="*/ 1167698 w 12191999"/>
              <a:gd name="connsiteY26" fmla="*/ 6373464 h 6858001"/>
              <a:gd name="connsiteX27" fmla="*/ 1154154 w 12191999"/>
              <a:gd name="connsiteY27" fmla="*/ 6367327 h 6858001"/>
              <a:gd name="connsiteX28" fmla="*/ 1148773 w 12191999"/>
              <a:gd name="connsiteY28" fmla="*/ 6348856 h 6858001"/>
              <a:gd name="connsiteX29" fmla="*/ 1154154 w 12191999"/>
              <a:gd name="connsiteY29" fmla="*/ 6330415 h 6858001"/>
              <a:gd name="connsiteX30" fmla="*/ 1167698 w 12191999"/>
              <a:gd name="connsiteY30" fmla="*/ 6324309 h 6858001"/>
              <a:gd name="connsiteX31" fmla="*/ 1939646 w 12191999"/>
              <a:gd name="connsiteY31" fmla="*/ 6324248 h 6858001"/>
              <a:gd name="connsiteX32" fmla="*/ 1953129 w 12191999"/>
              <a:gd name="connsiteY32" fmla="*/ 6330536 h 6858001"/>
              <a:gd name="connsiteX33" fmla="*/ 1957240 w 12191999"/>
              <a:gd name="connsiteY33" fmla="*/ 6342689 h 6858001"/>
              <a:gd name="connsiteX34" fmla="*/ 1921387 w 12191999"/>
              <a:gd name="connsiteY34" fmla="*/ 6342689 h 6858001"/>
              <a:gd name="connsiteX35" fmla="*/ 1927040 w 12191999"/>
              <a:gd name="connsiteY35" fmla="*/ 6329267 h 6858001"/>
              <a:gd name="connsiteX36" fmla="*/ 1939646 w 12191999"/>
              <a:gd name="connsiteY36" fmla="*/ 6324248 h 6858001"/>
              <a:gd name="connsiteX37" fmla="*/ 929996 w 12191999"/>
              <a:gd name="connsiteY37" fmla="*/ 6324248 h 6858001"/>
              <a:gd name="connsiteX38" fmla="*/ 943479 w 12191999"/>
              <a:gd name="connsiteY38" fmla="*/ 6330536 h 6858001"/>
              <a:gd name="connsiteX39" fmla="*/ 947590 w 12191999"/>
              <a:gd name="connsiteY39" fmla="*/ 6342689 h 6858001"/>
              <a:gd name="connsiteX40" fmla="*/ 911736 w 12191999"/>
              <a:gd name="connsiteY40" fmla="*/ 6342689 h 6858001"/>
              <a:gd name="connsiteX41" fmla="*/ 917389 w 12191999"/>
              <a:gd name="connsiteY41" fmla="*/ 6329267 h 6858001"/>
              <a:gd name="connsiteX42" fmla="*/ 929996 w 12191999"/>
              <a:gd name="connsiteY42" fmla="*/ 6324248 h 6858001"/>
              <a:gd name="connsiteX43" fmla="*/ 635688 w 12191999"/>
              <a:gd name="connsiteY43" fmla="*/ 6324248 h 6858001"/>
              <a:gd name="connsiteX44" fmla="*/ 647750 w 12191999"/>
              <a:gd name="connsiteY44" fmla="*/ 6330234 h 6858001"/>
              <a:gd name="connsiteX45" fmla="*/ 652738 w 12191999"/>
              <a:gd name="connsiteY45" fmla="*/ 6348796 h 6858001"/>
              <a:gd name="connsiteX46" fmla="*/ 647538 w 12191999"/>
              <a:gd name="connsiteY46" fmla="*/ 6367267 h 6858001"/>
              <a:gd name="connsiteX47" fmla="*/ 635204 w 12191999"/>
              <a:gd name="connsiteY47" fmla="*/ 6373464 h 6858001"/>
              <a:gd name="connsiteX48" fmla="*/ 621298 w 12191999"/>
              <a:gd name="connsiteY48" fmla="*/ 6365060 h 6858001"/>
              <a:gd name="connsiteX49" fmla="*/ 618154 w 12191999"/>
              <a:gd name="connsiteY49" fmla="*/ 6348373 h 6858001"/>
              <a:gd name="connsiteX50" fmla="*/ 623354 w 12191999"/>
              <a:gd name="connsiteY50" fmla="*/ 6330446 h 6858001"/>
              <a:gd name="connsiteX51" fmla="*/ 635688 w 12191999"/>
              <a:gd name="connsiteY51" fmla="*/ 6324248 h 6858001"/>
              <a:gd name="connsiteX52" fmla="*/ 808324 w 12191999"/>
              <a:gd name="connsiteY52" fmla="*/ 6316751 h 6858001"/>
              <a:gd name="connsiteX53" fmla="*/ 808324 w 12191999"/>
              <a:gd name="connsiteY53" fmla="*/ 6380961 h 6858001"/>
              <a:gd name="connsiteX54" fmla="*/ 819207 w 12191999"/>
              <a:gd name="connsiteY54" fmla="*/ 6380961 h 6858001"/>
              <a:gd name="connsiteX55" fmla="*/ 819207 w 12191999"/>
              <a:gd name="connsiteY55" fmla="*/ 6316751 h 6858001"/>
              <a:gd name="connsiteX56" fmla="*/ 674672 w 12191999"/>
              <a:gd name="connsiteY56" fmla="*/ 6316751 h 6858001"/>
              <a:gd name="connsiteX57" fmla="*/ 674672 w 12191999"/>
              <a:gd name="connsiteY57" fmla="*/ 6356535 h 6858001"/>
              <a:gd name="connsiteX58" fmla="*/ 675337 w 12191999"/>
              <a:gd name="connsiteY58" fmla="*/ 6366692 h 6858001"/>
              <a:gd name="connsiteX59" fmla="*/ 678692 w 12191999"/>
              <a:gd name="connsiteY59" fmla="*/ 6374764 h 6858001"/>
              <a:gd name="connsiteX60" fmla="*/ 686008 w 12191999"/>
              <a:gd name="connsiteY60" fmla="*/ 6380236 h 6858001"/>
              <a:gd name="connsiteX61" fmla="*/ 696619 w 12191999"/>
              <a:gd name="connsiteY61" fmla="*/ 6382412 h 6858001"/>
              <a:gd name="connsiteX62" fmla="*/ 716995 w 12191999"/>
              <a:gd name="connsiteY62" fmla="*/ 6371529 h 6858001"/>
              <a:gd name="connsiteX63" fmla="*/ 716995 w 12191999"/>
              <a:gd name="connsiteY63" fmla="*/ 6380961 h 6858001"/>
              <a:gd name="connsiteX64" fmla="*/ 726729 w 12191999"/>
              <a:gd name="connsiteY64" fmla="*/ 6380961 h 6858001"/>
              <a:gd name="connsiteX65" fmla="*/ 726729 w 12191999"/>
              <a:gd name="connsiteY65" fmla="*/ 6316751 h 6858001"/>
              <a:gd name="connsiteX66" fmla="*/ 715846 w 12191999"/>
              <a:gd name="connsiteY66" fmla="*/ 6316751 h 6858001"/>
              <a:gd name="connsiteX67" fmla="*/ 715846 w 12191999"/>
              <a:gd name="connsiteY67" fmla="*/ 6351154 h 6858001"/>
              <a:gd name="connsiteX68" fmla="*/ 714062 w 12191999"/>
              <a:gd name="connsiteY68" fmla="*/ 6363700 h 6858001"/>
              <a:gd name="connsiteX69" fmla="*/ 707986 w 12191999"/>
              <a:gd name="connsiteY69" fmla="*/ 6370532 h 6858001"/>
              <a:gd name="connsiteX70" fmla="*/ 698796 w 12191999"/>
              <a:gd name="connsiteY70" fmla="*/ 6373041 h 6858001"/>
              <a:gd name="connsiteX71" fmla="*/ 690573 w 12191999"/>
              <a:gd name="connsiteY71" fmla="*/ 6370592 h 6858001"/>
              <a:gd name="connsiteX72" fmla="*/ 686220 w 12191999"/>
              <a:gd name="connsiteY72" fmla="*/ 6363851 h 6858001"/>
              <a:gd name="connsiteX73" fmla="*/ 685555 w 12191999"/>
              <a:gd name="connsiteY73" fmla="*/ 6352363 h 6858001"/>
              <a:gd name="connsiteX74" fmla="*/ 685555 w 12191999"/>
              <a:gd name="connsiteY74" fmla="*/ 6316751 h 6858001"/>
              <a:gd name="connsiteX75" fmla="*/ 2210094 w 12191999"/>
              <a:gd name="connsiteY75" fmla="*/ 6315300 h 6858001"/>
              <a:gd name="connsiteX76" fmla="*/ 2189659 w 12191999"/>
              <a:gd name="connsiteY76" fmla="*/ 6325881 h 6858001"/>
              <a:gd name="connsiteX77" fmla="*/ 2189659 w 12191999"/>
              <a:gd name="connsiteY77" fmla="*/ 6316751 h 6858001"/>
              <a:gd name="connsiteX78" fmla="*/ 2179864 w 12191999"/>
              <a:gd name="connsiteY78" fmla="*/ 6316751 h 6858001"/>
              <a:gd name="connsiteX79" fmla="*/ 2179864 w 12191999"/>
              <a:gd name="connsiteY79" fmla="*/ 6380961 h 6858001"/>
              <a:gd name="connsiteX80" fmla="*/ 2190747 w 12191999"/>
              <a:gd name="connsiteY80" fmla="*/ 6380961 h 6858001"/>
              <a:gd name="connsiteX81" fmla="*/ 2190747 w 12191999"/>
              <a:gd name="connsiteY81" fmla="*/ 6345894 h 6858001"/>
              <a:gd name="connsiteX82" fmla="*/ 2195795 w 12191999"/>
              <a:gd name="connsiteY82" fmla="*/ 6329146 h 6858001"/>
              <a:gd name="connsiteX83" fmla="*/ 2207797 w 12191999"/>
              <a:gd name="connsiteY83" fmla="*/ 6324732 h 6858001"/>
              <a:gd name="connsiteX84" fmla="*/ 2215385 w 12191999"/>
              <a:gd name="connsiteY84" fmla="*/ 6326697 h 6858001"/>
              <a:gd name="connsiteX85" fmla="*/ 2219889 w 12191999"/>
              <a:gd name="connsiteY85" fmla="*/ 6331957 h 6858001"/>
              <a:gd name="connsiteX86" fmla="*/ 2221159 w 12191999"/>
              <a:gd name="connsiteY86" fmla="*/ 6341903 h 6858001"/>
              <a:gd name="connsiteX87" fmla="*/ 2221159 w 12191999"/>
              <a:gd name="connsiteY87" fmla="*/ 6380961 h 6858001"/>
              <a:gd name="connsiteX88" fmla="*/ 2232042 w 12191999"/>
              <a:gd name="connsiteY88" fmla="*/ 6380961 h 6858001"/>
              <a:gd name="connsiteX89" fmla="*/ 2232042 w 12191999"/>
              <a:gd name="connsiteY89" fmla="*/ 6341480 h 6858001"/>
              <a:gd name="connsiteX90" fmla="*/ 2231437 w 12191999"/>
              <a:gd name="connsiteY90" fmla="*/ 6330899 h 6858001"/>
              <a:gd name="connsiteX91" fmla="*/ 2228052 w 12191999"/>
              <a:gd name="connsiteY91" fmla="*/ 6322858 h 6858001"/>
              <a:gd name="connsiteX92" fmla="*/ 2220766 w 12191999"/>
              <a:gd name="connsiteY92" fmla="*/ 6317386 h 6858001"/>
              <a:gd name="connsiteX93" fmla="*/ 2210094 w 12191999"/>
              <a:gd name="connsiteY93" fmla="*/ 6315300 h 6858001"/>
              <a:gd name="connsiteX94" fmla="*/ 2140336 w 12191999"/>
              <a:gd name="connsiteY94" fmla="*/ 6315300 h 6858001"/>
              <a:gd name="connsiteX95" fmla="*/ 2125765 w 12191999"/>
              <a:gd name="connsiteY95" fmla="*/ 6317567 h 6858001"/>
              <a:gd name="connsiteX96" fmla="*/ 2116151 w 12191999"/>
              <a:gd name="connsiteY96" fmla="*/ 6324037 h 6858001"/>
              <a:gd name="connsiteX97" fmla="*/ 2111375 w 12191999"/>
              <a:gd name="connsiteY97" fmla="*/ 6335071 h 6858001"/>
              <a:gd name="connsiteX98" fmla="*/ 2122016 w 12191999"/>
              <a:gd name="connsiteY98" fmla="*/ 6336522 h 6858001"/>
              <a:gd name="connsiteX99" fmla="*/ 2127427 w 12191999"/>
              <a:gd name="connsiteY99" fmla="*/ 6326999 h 6858001"/>
              <a:gd name="connsiteX100" fmla="*/ 2138764 w 12191999"/>
              <a:gd name="connsiteY100" fmla="*/ 6324309 h 6858001"/>
              <a:gd name="connsiteX101" fmla="*/ 2151159 w 12191999"/>
              <a:gd name="connsiteY101" fmla="*/ 6327997 h 6858001"/>
              <a:gd name="connsiteX102" fmla="*/ 2154242 w 12191999"/>
              <a:gd name="connsiteY102" fmla="*/ 6337369 h 6858001"/>
              <a:gd name="connsiteX103" fmla="*/ 2154182 w 12191999"/>
              <a:gd name="connsiteY103" fmla="*/ 6340210 h 6858001"/>
              <a:gd name="connsiteX104" fmla="*/ 2134773 w 12191999"/>
              <a:gd name="connsiteY104" fmla="*/ 6343959 h 6858001"/>
              <a:gd name="connsiteX105" fmla="*/ 2125100 w 12191999"/>
              <a:gd name="connsiteY105" fmla="*/ 6345591 h 6858001"/>
              <a:gd name="connsiteX106" fmla="*/ 2117270 w 12191999"/>
              <a:gd name="connsiteY106" fmla="*/ 6349159 h 6858001"/>
              <a:gd name="connsiteX107" fmla="*/ 2111647 w 12191999"/>
              <a:gd name="connsiteY107" fmla="*/ 6355416 h 6858001"/>
              <a:gd name="connsiteX108" fmla="*/ 2109500 w 12191999"/>
              <a:gd name="connsiteY108" fmla="*/ 6364032 h 6858001"/>
              <a:gd name="connsiteX109" fmla="*/ 2115184 w 12191999"/>
              <a:gd name="connsiteY109" fmla="*/ 6377243 h 6858001"/>
              <a:gd name="connsiteX110" fmla="*/ 2131448 w 12191999"/>
              <a:gd name="connsiteY110" fmla="*/ 6382412 h 6858001"/>
              <a:gd name="connsiteX111" fmla="*/ 2143450 w 12191999"/>
              <a:gd name="connsiteY111" fmla="*/ 6380296 h 6858001"/>
              <a:gd name="connsiteX112" fmla="*/ 2155089 w 12191999"/>
              <a:gd name="connsiteY112" fmla="*/ 6373041 h 6858001"/>
              <a:gd name="connsiteX113" fmla="*/ 2157265 w 12191999"/>
              <a:gd name="connsiteY113" fmla="*/ 6380961 h 6858001"/>
              <a:gd name="connsiteX114" fmla="*/ 2168632 w 12191999"/>
              <a:gd name="connsiteY114" fmla="*/ 6380961 h 6858001"/>
              <a:gd name="connsiteX115" fmla="*/ 2165881 w 12191999"/>
              <a:gd name="connsiteY115" fmla="*/ 6373252 h 6858001"/>
              <a:gd name="connsiteX116" fmla="*/ 2165185 w 12191999"/>
              <a:gd name="connsiteY116" fmla="*/ 6354056 h 6858001"/>
              <a:gd name="connsiteX117" fmla="*/ 2165185 w 12191999"/>
              <a:gd name="connsiteY117" fmla="*/ 6339545 h 6858001"/>
              <a:gd name="connsiteX118" fmla="*/ 2164641 w 12191999"/>
              <a:gd name="connsiteY118" fmla="*/ 6329509 h 6858001"/>
              <a:gd name="connsiteX119" fmla="*/ 2161255 w 12191999"/>
              <a:gd name="connsiteY119" fmla="*/ 6322102 h 6858001"/>
              <a:gd name="connsiteX120" fmla="*/ 2153698 w 12191999"/>
              <a:gd name="connsiteY120" fmla="*/ 6317235 h 6858001"/>
              <a:gd name="connsiteX121" fmla="*/ 2140336 w 12191999"/>
              <a:gd name="connsiteY121" fmla="*/ 6315300 h 6858001"/>
              <a:gd name="connsiteX122" fmla="*/ 2076744 w 12191999"/>
              <a:gd name="connsiteY122" fmla="*/ 6315300 h 6858001"/>
              <a:gd name="connsiteX123" fmla="*/ 2056309 w 12191999"/>
              <a:gd name="connsiteY123" fmla="*/ 6325881 h 6858001"/>
              <a:gd name="connsiteX124" fmla="*/ 2056309 w 12191999"/>
              <a:gd name="connsiteY124" fmla="*/ 6316751 h 6858001"/>
              <a:gd name="connsiteX125" fmla="*/ 2046514 w 12191999"/>
              <a:gd name="connsiteY125" fmla="*/ 6316751 h 6858001"/>
              <a:gd name="connsiteX126" fmla="*/ 2046514 w 12191999"/>
              <a:gd name="connsiteY126" fmla="*/ 6380961 h 6858001"/>
              <a:gd name="connsiteX127" fmla="*/ 2057397 w 12191999"/>
              <a:gd name="connsiteY127" fmla="*/ 6380961 h 6858001"/>
              <a:gd name="connsiteX128" fmla="*/ 2057397 w 12191999"/>
              <a:gd name="connsiteY128" fmla="*/ 6345894 h 6858001"/>
              <a:gd name="connsiteX129" fmla="*/ 2062445 w 12191999"/>
              <a:gd name="connsiteY129" fmla="*/ 6329146 h 6858001"/>
              <a:gd name="connsiteX130" fmla="*/ 2074447 w 12191999"/>
              <a:gd name="connsiteY130" fmla="*/ 6324732 h 6858001"/>
              <a:gd name="connsiteX131" fmla="*/ 2082035 w 12191999"/>
              <a:gd name="connsiteY131" fmla="*/ 6326697 h 6858001"/>
              <a:gd name="connsiteX132" fmla="*/ 2086539 w 12191999"/>
              <a:gd name="connsiteY132" fmla="*/ 6331957 h 6858001"/>
              <a:gd name="connsiteX133" fmla="*/ 2087809 w 12191999"/>
              <a:gd name="connsiteY133" fmla="*/ 6341903 h 6858001"/>
              <a:gd name="connsiteX134" fmla="*/ 2087809 w 12191999"/>
              <a:gd name="connsiteY134" fmla="*/ 6380961 h 6858001"/>
              <a:gd name="connsiteX135" fmla="*/ 2098692 w 12191999"/>
              <a:gd name="connsiteY135" fmla="*/ 6380961 h 6858001"/>
              <a:gd name="connsiteX136" fmla="*/ 2098692 w 12191999"/>
              <a:gd name="connsiteY136" fmla="*/ 6341480 h 6858001"/>
              <a:gd name="connsiteX137" fmla="*/ 2098087 w 12191999"/>
              <a:gd name="connsiteY137" fmla="*/ 6330899 h 6858001"/>
              <a:gd name="connsiteX138" fmla="*/ 2094702 w 12191999"/>
              <a:gd name="connsiteY138" fmla="*/ 6322858 h 6858001"/>
              <a:gd name="connsiteX139" fmla="*/ 2087416 w 12191999"/>
              <a:gd name="connsiteY139" fmla="*/ 6317386 h 6858001"/>
              <a:gd name="connsiteX140" fmla="*/ 2076744 w 12191999"/>
              <a:gd name="connsiteY140" fmla="*/ 6315300 h 6858001"/>
              <a:gd name="connsiteX141" fmla="*/ 2010069 w 12191999"/>
              <a:gd name="connsiteY141" fmla="*/ 6315300 h 6858001"/>
              <a:gd name="connsiteX142" fmla="*/ 1989633 w 12191999"/>
              <a:gd name="connsiteY142" fmla="*/ 6325881 h 6858001"/>
              <a:gd name="connsiteX143" fmla="*/ 1989633 w 12191999"/>
              <a:gd name="connsiteY143" fmla="*/ 6316751 h 6858001"/>
              <a:gd name="connsiteX144" fmla="*/ 1979839 w 12191999"/>
              <a:gd name="connsiteY144" fmla="*/ 6316751 h 6858001"/>
              <a:gd name="connsiteX145" fmla="*/ 1979839 w 12191999"/>
              <a:gd name="connsiteY145" fmla="*/ 6380961 h 6858001"/>
              <a:gd name="connsiteX146" fmla="*/ 1990722 w 12191999"/>
              <a:gd name="connsiteY146" fmla="*/ 6380961 h 6858001"/>
              <a:gd name="connsiteX147" fmla="*/ 1990722 w 12191999"/>
              <a:gd name="connsiteY147" fmla="*/ 6345894 h 6858001"/>
              <a:gd name="connsiteX148" fmla="*/ 1995770 w 12191999"/>
              <a:gd name="connsiteY148" fmla="*/ 6329146 h 6858001"/>
              <a:gd name="connsiteX149" fmla="*/ 2007772 w 12191999"/>
              <a:gd name="connsiteY149" fmla="*/ 6324732 h 6858001"/>
              <a:gd name="connsiteX150" fmla="*/ 2015360 w 12191999"/>
              <a:gd name="connsiteY150" fmla="*/ 6326697 h 6858001"/>
              <a:gd name="connsiteX151" fmla="*/ 2019864 w 12191999"/>
              <a:gd name="connsiteY151" fmla="*/ 6331957 h 6858001"/>
              <a:gd name="connsiteX152" fmla="*/ 2021134 w 12191999"/>
              <a:gd name="connsiteY152" fmla="*/ 6341903 h 6858001"/>
              <a:gd name="connsiteX153" fmla="*/ 2021134 w 12191999"/>
              <a:gd name="connsiteY153" fmla="*/ 6380961 h 6858001"/>
              <a:gd name="connsiteX154" fmla="*/ 2032017 w 12191999"/>
              <a:gd name="connsiteY154" fmla="*/ 6380961 h 6858001"/>
              <a:gd name="connsiteX155" fmla="*/ 2032017 w 12191999"/>
              <a:gd name="connsiteY155" fmla="*/ 6341480 h 6858001"/>
              <a:gd name="connsiteX156" fmla="*/ 2031412 w 12191999"/>
              <a:gd name="connsiteY156" fmla="*/ 6330899 h 6858001"/>
              <a:gd name="connsiteX157" fmla="*/ 2028026 w 12191999"/>
              <a:gd name="connsiteY157" fmla="*/ 6322858 h 6858001"/>
              <a:gd name="connsiteX158" fmla="*/ 2020741 w 12191999"/>
              <a:gd name="connsiteY158" fmla="*/ 6317386 h 6858001"/>
              <a:gd name="connsiteX159" fmla="*/ 2010069 w 12191999"/>
              <a:gd name="connsiteY159" fmla="*/ 6315300 h 6858001"/>
              <a:gd name="connsiteX160" fmla="*/ 1939525 w 12191999"/>
              <a:gd name="connsiteY160" fmla="*/ 6315300 h 6858001"/>
              <a:gd name="connsiteX161" fmla="*/ 1917880 w 12191999"/>
              <a:gd name="connsiteY161" fmla="*/ 6324248 h 6858001"/>
              <a:gd name="connsiteX162" fmla="*/ 1909536 w 12191999"/>
              <a:gd name="connsiteY162" fmla="*/ 6349400 h 6858001"/>
              <a:gd name="connsiteX163" fmla="*/ 1917789 w 12191999"/>
              <a:gd name="connsiteY163" fmla="*/ 6373736 h 6858001"/>
              <a:gd name="connsiteX164" fmla="*/ 1940129 w 12191999"/>
              <a:gd name="connsiteY164" fmla="*/ 6382412 h 6858001"/>
              <a:gd name="connsiteX165" fmla="*/ 1958510 w 12191999"/>
              <a:gd name="connsiteY165" fmla="*/ 6376971 h 6858001"/>
              <a:gd name="connsiteX166" fmla="*/ 1968365 w 12191999"/>
              <a:gd name="connsiteY166" fmla="*/ 6361674 h 6858001"/>
              <a:gd name="connsiteX167" fmla="*/ 1957119 w 12191999"/>
              <a:gd name="connsiteY167" fmla="*/ 6360283 h 6858001"/>
              <a:gd name="connsiteX168" fmla="*/ 1950408 w 12191999"/>
              <a:gd name="connsiteY168" fmla="*/ 6370320 h 6858001"/>
              <a:gd name="connsiteX169" fmla="*/ 1940190 w 12191999"/>
              <a:gd name="connsiteY169" fmla="*/ 6373464 h 6858001"/>
              <a:gd name="connsiteX170" fmla="*/ 1926767 w 12191999"/>
              <a:gd name="connsiteY170" fmla="*/ 6367841 h 6858001"/>
              <a:gd name="connsiteX171" fmla="*/ 1920782 w 12191999"/>
              <a:gd name="connsiteY171" fmla="*/ 6351637 h 6858001"/>
              <a:gd name="connsiteX172" fmla="*/ 1968667 w 12191999"/>
              <a:gd name="connsiteY172" fmla="*/ 6351637 h 6858001"/>
              <a:gd name="connsiteX173" fmla="*/ 1968728 w 12191999"/>
              <a:gd name="connsiteY173" fmla="*/ 6348735 h 6858001"/>
              <a:gd name="connsiteX174" fmla="*/ 1960565 w 12191999"/>
              <a:gd name="connsiteY174" fmla="*/ 6324067 h 6858001"/>
              <a:gd name="connsiteX175" fmla="*/ 1939525 w 12191999"/>
              <a:gd name="connsiteY175" fmla="*/ 6315300 h 6858001"/>
              <a:gd name="connsiteX176" fmla="*/ 1805752 w 12191999"/>
              <a:gd name="connsiteY176" fmla="*/ 6315300 h 6858001"/>
              <a:gd name="connsiteX177" fmla="*/ 1790425 w 12191999"/>
              <a:gd name="connsiteY177" fmla="*/ 6319200 h 6858001"/>
              <a:gd name="connsiteX178" fmla="*/ 1779935 w 12191999"/>
              <a:gd name="connsiteY178" fmla="*/ 6330899 h 6858001"/>
              <a:gd name="connsiteX179" fmla="*/ 1776488 w 12191999"/>
              <a:gd name="connsiteY179" fmla="*/ 6349098 h 6858001"/>
              <a:gd name="connsiteX180" fmla="*/ 1784499 w 12191999"/>
              <a:gd name="connsiteY180" fmla="*/ 6373797 h 6858001"/>
              <a:gd name="connsiteX181" fmla="*/ 1805691 w 12191999"/>
              <a:gd name="connsiteY181" fmla="*/ 6382412 h 6858001"/>
              <a:gd name="connsiteX182" fmla="*/ 1823437 w 12191999"/>
              <a:gd name="connsiteY182" fmla="*/ 6376155 h 6858001"/>
              <a:gd name="connsiteX183" fmla="*/ 1832415 w 12191999"/>
              <a:gd name="connsiteY183" fmla="*/ 6358832 h 6858001"/>
              <a:gd name="connsiteX184" fmla="*/ 1821714 w 12191999"/>
              <a:gd name="connsiteY184" fmla="*/ 6357442 h 6858001"/>
              <a:gd name="connsiteX185" fmla="*/ 1816272 w 12191999"/>
              <a:gd name="connsiteY185" fmla="*/ 6369534 h 6858001"/>
              <a:gd name="connsiteX186" fmla="*/ 1805570 w 12191999"/>
              <a:gd name="connsiteY186" fmla="*/ 6373464 h 6858001"/>
              <a:gd name="connsiteX187" fmla="*/ 1792632 w 12191999"/>
              <a:gd name="connsiteY187" fmla="*/ 6367599 h 6858001"/>
              <a:gd name="connsiteX188" fmla="*/ 1787674 w 12191999"/>
              <a:gd name="connsiteY188" fmla="*/ 6348796 h 6858001"/>
              <a:gd name="connsiteX189" fmla="*/ 1792813 w 12191999"/>
              <a:gd name="connsiteY189" fmla="*/ 6330143 h 6858001"/>
              <a:gd name="connsiteX190" fmla="*/ 1806175 w 12191999"/>
              <a:gd name="connsiteY190" fmla="*/ 6324248 h 6858001"/>
              <a:gd name="connsiteX191" fmla="*/ 1815456 w 12191999"/>
              <a:gd name="connsiteY191" fmla="*/ 6327513 h 6858001"/>
              <a:gd name="connsiteX192" fmla="*/ 1820806 w 12191999"/>
              <a:gd name="connsiteY192" fmla="*/ 6337248 h 6858001"/>
              <a:gd name="connsiteX193" fmla="*/ 1831387 w 12191999"/>
              <a:gd name="connsiteY193" fmla="*/ 6335615 h 6858001"/>
              <a:gd name="connsiteX194" fmla="*/ 1822862 w 12191999"/>
              <a:gd name="connsiteY194" fmla="*/ 6320591 h 6858001"/>
              <a:gd name="connsiteX195" fmla="*/ 1805752 w 12191999"/>
              <a:gd name="connsiteY195" fmla="*/ 6315300 h 6858001"/>
              <a:gd name="connsiteX196" fmla="*/ 1515165 w 12191999"/>
              <a:gd name="connsiteY196" fmla="*/ 6315300 h 6858001"/>
              <a:gd name="connsiteX197" fmla="*/ 1505763 w 12191999"/>
              <a:gd name="connsiteY197" fmla="*/ 6316600 h 6858001"/>
              <a:gd name="connsiteX198" fmla="*/ 1498840 w 12191999"/>
              <a:gd name="connsiteY198" fmla="*/ 6319774 h 6858001"/>
              <a:gd name="connsiteX199" fmla="*/ 1493489 w 12191999"/>
              <a:gd name="connsiteY199" fmla="*/ 6325851 h 6858001"/>
              <a:gd name="connsiteX200" fmla="*/ 1491524 w 12191999"/>
              <a:gd name="connsiteY200" fmla="*/ 6333801 h 6858001"/>
              <a:gd name="connsiteX201" fmla="*/ 1493913 w 12191999"/>
              <a:gd name="connsiteY201" fmla="*/ 6342417 h 6858001"/>
              <a:gd name="connsiteX202" fmla="*/ 1500926 w 12191999"/>
              <a:gd name="connsiteY202" fmla="*/ 6348524 h 6858001"/>
              <a:gd name="connsiteX203" fmla="*/ 1517523 w 12191999"/>
              <a:gd name="connsiteY203" fmla="*/ 6353754 h 6858001"/>
              <a:gd name="connsiteX204" fmla="*/ 1528648 w 12191999"/>
              <a:gd name="connsiteY204" fmla="*/ 6357442 h 6858001"/>
              <a:gd name="connsiteX205" fmla="*/ 1531852 w 12191999"/>
              <a:gd name="connsiteY205" fmla="*/ 6363246 h 6858001"/>
              <a:gd name="connsiteX206" fmla="*/ 1528224 w 12191999"/>
              <a:gd name="connsiteY206" fmla="*/ 6370411 h 6858001"/>
              <a:gd name="connsiteX207" fmla="*/ 1517100 w 12191999"/>
              <a:gd name="connsiteY207" fmla="*/ 6373464 h 6858001"/>
              <a:gd name="connsiteX208" fmla="*/ 1505521 w 12191999"/>
              <a:gd name="connsiteY208" fmla="*/ 6370018 h 6858001"/>
              <a:gd name="connsiteX209" fmla="*/ 1500472 w 12191999"/>
              <a:gd name="connsiteY209" fmla="*/ 6360102 h 6858001"/>
              <a:gd name="connsiteX210" fmla="*/ 1489710 w 12191999"/>
              <a:gd name="connsiteY210" fmla="*/ 6361795 h 6858001"/>
              <a:gd name="connsiteX211" fmla="*/ 1498084 w 12191999"/>
              <a:gd name="connsiteY211" fmla="*/ 6377213 h 6858001"/>
              <a:gd name="connsiteX212" fmla="*/ 1517160 w 12191999"/>
              <a:gd name="connsiteY212" fmla="*/ 6382412 h 6858001"/>
              <a:gd name="connsiteX213" fmla="*/ 1530703 w 12191999"/>
              <a:gd name="connsiteY213" fmla="*/ 6379782 h 6858001"/>
              <a:gd name="connsiteX214" fmla="*/ 1539863 w 12191999"/>
              <a:gd name="connsiteY214" fmla="*/ 6372345 h 6858001"/>
              <a:gd name="connsiteX215" fmla="*/ 1543037 w 12191999"/>
              <a:gd name="connsiteY215" fmla="*/ 6362097 h 6858001"/>
              <a:gd name="connsiteX216" fmla="*/ 1540437 w 12191999"/>
              <a:gd name="connsiteY216" fmla="*/ 6352786 h 6858001"/>
              <a:gd name="connsiteX217" fmla="*/ 1533273 w 12191999"/>
              <a:gd name="connsiteY217" fmla="*/ 6347073 h 6858001"/>
              <a:gd name="connsiteX218" fmla="*/ 1517160 w 12191999"/>
              <a:gd name="connsiteY218" fmla="*/ 6342024 h 6858001"/>
              <a:gd name="connsiteX219" fmla="*/ 1507547 w 12191999"/>
              <a:gd name="connsiteY219" fmla="*/ 6339243 h 6858001"/>
              <a:gd name="connsiteX220" fmla="*/ 1503375 w 12191999"/>
              <a:gd name="connsiteY220" fmla="*/ 6336341 h 6858001"/>
              <a:gd name="connsiteX221" fmla="*/ 1502044 w 12191999"/>
              <a:gd name="connsiteY221" fmla="*/ 6332532 h 6858001"/>
              <a:gd name="connsiteX222" fmla="*/ 1505249 w 12191999"/>
              <a:gd name="connsiteY222" fmla="*/ 6326727 h 6858001"/>
              <a:gd name="connsiteX223" fmla="*/ 1515951 w 12191999"/>
              <a:gd name="connsiteY223" fmla="*/ 6324248 h 6858001"/>
              <a:gd name="connsiteX224" fmla="*/ 1525776 w 12191999"/>
              <a:gd name="connsiteY224" fmla="*/ 6327030 h 6858001"/>
              <a:gd name="connsiteX225" fmla="*/ 1529978 w 12191999"/>
              <a:gd name="connsiteY225" fmla="*/ 6334769 h 6858001"/>
              <a:gd name="connsiteX226" fmla="*/ 1540619 w 12191999"/>
              <a:gd name="connsiteY226" fmla="*/ 6333318 h 6858001"/>
              <a:gd name="connsiteX227" fmla="*/ 1536870 w 12191999"/>
              <a:gd name="connsiteY227" fmla="*/ 6323372 h 6858001"/>
              <a:gd name="connsiteX228" fmla="*/ 1528436 w 12191999"/>
              <a:gd name="connsiteY228" fmla="*/ 6317477 h 6858001"/>
              <a:gd name="connsiteX229" fmla="*/ 1515165 w 12191999"/>
              <a:gd name="connsiteY229" fmla="*/ 6315300 h 6858001"/>
              <a:gd name="connsiteX230" fmla="*/ 1479544 w 12191999"/>
              <a:gd name="connsiteY230" fmla="*/ 6315300 h 6858001"/>
              <a:gd name="connsiteX231" fmla="*/ 1472560 w 12191999"/>
              <a:gd name="connsiteY231" fmla="*/ 6317477 h 6858001"/>
              <a:gd name="connsiteX232" fmla="*/ 1465638 w 12191999"/>
              <a:gd name="connsiteY232" fmla="*/ 6326486 h 6858001"/>
              <a:gd name="connsiteX233" fmla="*/ 1465638 w 12191999"/>
              <a:gd name="connsiteY233" fmla="*/ 6316751 h 6858001"/>
              <a:gd name="connsiteX234" fmla="*/ 1455843 w 12191999"/>
              <a:gd name="connsiteY234" fmla="*/ 6316751 h 6858001"/>
              <a:gd name="connsiteX235" fmla="*/ 1455843 w 12191999"/>
              <a:gd name="connsiteY235" fmla="*/ 6380961 h 6858001"/>
              <a:gd name="connsiteX236" fmla="*/ 1466726 w 12191999"/>
              <a:gd name="connsiteY236" fmla="*/ 6380961 h 6858001"/>
              <a:gd name="connsiteX237" fmla="*/ 1466726 w 12191999"/>
              <a:gd name="connsiteY237" fmla="*/ 6347345 h 6858001"/>
              <a:gd name="connsiteX238" fmla="*/ 1468540 w 12191999"/>
              <a:gd name="connsiteY238" fmla="*/ 6334648 h 6858001"/>
              <a:gd name="connsiteX239" fmla="*/ 1472590 w 12191999"/>
              <a:gd name="connsiteY239" fmla="*/ 6328692 h 6858001"/>
              <a:gd name="connsiteX240" fmla="*/ 1479000 w 12191999"/>
              <a:gd name="connsiteY240" fmla="*/ 6326546 h 6858001"/>
              <a:gd name="connsiteX241" fmla="*/ 1486980 w 12191999"/>
              <a:gd name="connsiteY241" fmla="*/ 6328904 h 6858001"/>
              <a:gd name="connsiteX242" fmla="*/ 1490729 w 12191999"/>
              <a:gd name="connsiteY242" fmla="*/ 6318807 h 6858001"/>
              <a:gd name="connsiteX243" fmla="*/ 1479544 w 12191999"/>
              <a:gd name="connsiteY243" fmla="*/ 6315300 h 6858001"/>
              <a:gd name="connsiteX244" fmla="*/ 1416436 w 12191999"/>
              <a:gd name="connsiteY244" fmla="*/ 6315300 h 6858001"/>
              <a:gd name="connsiteX245" fmla="*/ 1401865 w 12191999"/>
              <a:gd name="connsiteY245" fmla="*/ 6317567 h 6858001"/>
              <a:gd name="connsiteX246" fmla="*/ 1392251 w 12191999"/>
              <a:gd name="connsiteY246" fmla="*/ 6324037 h 6858001"/>
              <a:gd name="connsiteX247" fmla="*/ 1387475 w 12191999"/>
              <a:gd name="connsiteY247" fmla="*/ 6335071 h 6858001"/>
              <a:gd name="connsiteX248" fmla="*/ 1398116 w 12191999"/>
              <a:gd name="connsiteY248" fmla="*/ 6336522 h 6858001"/>
              <a:gd name="connsiteX249" fmla="*/ 1403527 w 12191999"/>
              <a:gd name="connsiteY249" fmla="*/ 6326999 h 6858001"/>
              <a:gd name="connsiteX250" fmla="*/ 1414864 w 12191999"/>
              <a:gd name="connsiteY250" fmla="*/ 6324309 h 6858001"/>
              <a:gd name="connsiteX251" fmla="*/ 1427258 w 12191999"/>
              <a:gd name="connsiteY251" fmla="*/ 6327997 h 6858001"/>
              <a:gd name="connsiteX252" fmla="*/ 1430342 w 12191999"/>
              <a:gd name="connsiteY252" fmla="*/ 6337369 h 6858001"/>
              <a:gd name="connsiteX253" fmla="*/ 1430281 w 12191999"/>
              <a:gd name="connsiteY253" fmla="*/ 6340210 h 6858001"/>
              <a:gd name="connsiteX254" fmla="*/ 1410873 w 12191999"/>
              <a:gd name="connsiteY254" fmla="*/ 6343959 h 6858001"/>
              <a:gd name="connsiteX255" fmla="*/ 1401199 w 12191999"/>
              <a:gd name="connsiteY255" fmla="*/ 6345591 h 6858001"/>
              <a:gd name="connsiteX256" fmla="*/ 1393370 w 12191999"/>
              <a:gd name="connsiteY256" fmla="*/ 6349159 h 6858001"/>
              <a:gd name="connsiteX257" fmla="*/ 1387747 w 12191999"/>
              <a:gd name="connsiteY257" fmla="*/ 6355416 h 6858001"/>
              <a:gd name="connsiteX258" fmla="*/ 1385600 w 12191999"/>
              <a:gd name="connsiteY258" fmla="*/ 6364032 h 6858001"/>
              <a:gd name="connsiteX259" fmla="*/ 1391284 w 12191999"/>
              <a:gd name="connsiteY259" fmla="*/ 6377243 h 6858001"/>
              <a:gd name="connsiteX260" fmla="*/ 1407548 w 12191999"/>
              <a:gd name="connsiteY260" fmla="*/ 6382412 h 6858001"/>
              <a:gd name="connsiteX261" fmla="*/ 1419550 w 12191999"/>
              <a:gd name="connsiteY261" fmla="*/ 6380296 h 6858001"/>
              <a:gd name="connsiteX262" fmla="*/ 1431188 w 12191999"/>
              <a:gd name="connsiteY262" fmla="*/ 6373041 h 6858001"/>
              <a:gd name="connsiteX263" fmla="*/ 1433365 w 12191999"/>
              <a:gd name="connsiteY263" fmla="*/ 6380961 h 6858001"/>
              <a:gd name="connsiteX264" fmla="*/ 1444732 w 12191999"/>
              <a:gd name="connsiteY264" fmla="*/ 6380961 h 6858001"/>
              <a:gd name="connsiteX265" fmla="*/ 1441981 w 12191999"/>
              <a:gd name="connsiteY265" fmla="*/ 6373252 h 6858001"/>
              <a:gd name="connsiteX266" fmla="*/ 1441285 w 12191999"/>
              <a:gd name="connsiteY266" fmla="*/ 6354056 h 6858001"/>
              <a:gd name="connsiteX267" fmla="*/ 1441285 w 12191999"/>
              <a:gd name="connsiteY267" fmla="*/ 6339545 h 6858001"/>
              <a:gd name="connsiteX268" fmla="*/ 1440741 w 12191999"/>
              <a:gd name="connsiteY268" fmla="*/ 6329509 h 6858001"/>
              <a:gd name="connsiteX269" fmla="*/ 1437355 w 12191999"/>
              <a:gd name="connsiteY269" fmla="*/ 6322102 h 6858001"/>
              <a:gd name="connsiteX270" fmla="*/ 1429798 w 12191999"/>
              <a:gd name="connsiteY270" fmla="*/ 6317235 h 6858001"/>
              <a:gd name="connsiteX271" fmla="*/ 1416436 w 12191999"/>
              <a:gd name="connsiteY271" fmla="*/ 6315300 h 6858001"/>
              <a:gd name="connsiteX272" fmla="*/ 1167698 w 12191999"/>
              <a:gd name="connsiteY272" fmla="*/ 6315300 h 6858001"/>
              <a:gd name="connsiteX273" fmla="*/ 1147503 w 12191999"/>
              <a:gd name="connsiteY273" fmla="*/ 6322435 h 6858001"/>
              <a:gd name="connsiteX274" fmla="*/ 1137588 w 12191999"/>
              <a:gd name="connsiteY274" fmla="*/ 6348856 h 6858001"/>
              <a:gd name="connsiteX275" fmla="*/ 1145901 w 12191999"/>
              <a:gd name="connsiteY275" fmla="*/ 6373766 h 6858001"/>
              <a:gd name="connsiteX276" fmla="*/ 1167698 w 12191999"/>
              <a:gd name="connsiteY276" fmla="*/ 6382412 h 6858001"/>
              <a:gd name="connsiteX277" fmla="*/ 1183206 w 12191999"/>
              <a:gd name="connsiteY277" fmla="*/ 6378482 h 6858001"/>
              <a:gd name="connsiteX278" fmla="*/ 1194028 w 12191999"/>
              <a:gd name="connsiteY278" fmla="*/ 6367448 h 6858001"/>
              <a:gd name="connsiteX279" fmla="*/ 1197747 w 12191999"/>
              <a:gd name="connsiteY279" fmla="*/ 6347949 h 6858001"/>
              <a:gd name="connsiteX280" fmla="*/ 1189343 w 12191999"/>
              <a:gd name="connsiteY280" fmla="*/ 6323976 h 6858001"/>
              <a:gd name="connsiteX281" fmla="*/ 1167698 w 12191999"/>
              <a:gd name="connsiteY281" fmla="*/ 6315300 h 6858001"/>
              <a:gd name="connsiteX282" fmla="*/ 1057965 w 12191999"/>
              <a:gd name="connsiteY282" fmla="*/ 6315300 h 6858001"/>
              <a:gd name="connsiteX283" fmla="*/ 1048563 w 12191999"/>
              <a:gd name="connsiteY283" fmla="*/ 6316600 h 6858001"/>
              <a:gd name="connsiteX284" fmla="*/ 1041640 w 12191999"/>
              <a:gd name="connsiteY284" fmla="*/ 6319774 h 6858001"/>
              <a:gd name="connsiteX285" fmla="*/ 1036289 w 12191999"/>
              <a:gd name="connsiteY285" fmla="*/ 6325851 h 6858001"/>
              <a:gd name="connsiteX286" fmla="*/ 1034324 w 12191999"/>
              <a:gd name="connsiteY286" fmla="*/ 6333801 h 6858001"/>
              <a:gd name="connsiteX287" fmla="*/ 1036712 w 12191999"/>
              <a:gd name="connsiteY287" fmla="*/ 6342417 h 6858001"/>
              <a:gd name="connsiteX288" fmla="*/ 1043726 w 12191999"/>
              <a:gd name="connsiteY288" fmla="*/ 6348524 h 6858001"/>
              <a:gd name="connsiteX289" fmla="*/ 1060323 w 12191999"/>
              <a:gd name="connsiteY289" fmla="*/ 6353754 h 6858001"/>
              <a:gd name="connsiteX290" fmla="*/ 1071447 w 12191999"/>
              <a:gd name="connsiteY290" fmla="*/ 6357442 h 6858001"/>
              <a:gd name="connsiteX291" fmla="*/ 1074652 w 12191999"/>
              <a:gd name="connsiteY291" fmla="*/ 6363246 h 6858001"/>
              <a:gd name="connsiteX292" fmla="*/ 1071024 w 12191999"/>
              <a:gd name="connsiteY292" fmla="*/ 6370411 h 6858001"/>
              <a:gd name="connsiteX293" fmla="*/ 1059899 w 12191999"/>
              <a:gd name="connsiteY293" fmla="*/ 6373464 h 6858001"/>
              <a:gd name="connsiteX294" fmla="*/ 1048321 w 12191999"/>
              <a:gd name="connsiteY294" fmla="*/ 6370018 h 6858001"/>
              <a:gd name="connsiteX295" fmla="*/ 1043272 w 12191999"/>
              <a:gd name="connsiteY295" fmla="*/ 6360102 h 6858001"/>
              <a:gd name="connsiteX296" fmla="*/ 1032510 w 12191999"/>
              <a:gd name="connsiteY296" fmla="*/ 6361795 h 6858001"/>
              <a:gd name="connsiteX297" fmla="*/ 1040884 w 12191999"/>
              <a:gd name="connsiteY297" fmla="*/ 6377213 h 6858001"/>
              <a:gd name="connsiteX298" fmla="*/ 1059960 w 12191999"/>
              <a:gd name="connsiteY298" fmla="*/ 6382412 h 6858001"/>
              <a:gd name="connsiteX299" fmla="*/ 1073503 w 12191999"/>
              <a:gd name="connsiteY299" fmla="*/ 6379782 h 6858001"/>
              <a:gd name="connsiteX300" fmla="*/ 1082663 w 12191999"/>
              <a:gd name="connsiteY300" fmla="*/ 6372345 h 6858001"/>
              <a:gd name="connsiteX301" fmla="*/ 1085837 w 12191999"/>
              <a:gd name="connsiteY301" fmla="*/ 6362097 h 6858001"/>
              <a:gd name="connsiteX302" fmla="*/ 1083237 w 12191999"/>
              <a:gd name="connsiteY302" fmla="*/ 6352786 h 6858001"/>
              <a:gd name="connsiteX303" fmla="*/ 1076073 w 12191999"/>
              <a:gd name="connsiteY303" fmla="*/ 6347073 h 6858001"/>
              <a:gd name="connsiteX304" fmla="*/ 1059960 w 12191999"/>
              <a:gd name="connsiteY304" fmla="*/ 6342024 h 6858001"/>
              <a:gd name="connsiteX305" fmla="*/ 1050346 w 12191999"/>
              <a:gd name="connsiteY305" fmla="*/ 6339243 h 6858001"/>
              <a:gd name="connsiteX306" fmla="*/ 1046175 w 12191999"/>
              <a:gd name="connsiteY306" fmla="*/ 6336341 h 6858001"/>
              <a:gd name="connsiteX307" fmla="*/ 1044844 w 12191999"/>
              <a:gd name="connsiteY307" fmla="*/ 6332532 h 6858001"/>
              <a:gd name="connsiteX308" fmla="*/ 1048049 w 12191999"/>
              <a:gd name="connsiteY308" fmla="*/ 6326727 h 6858001"/>
              <a:gd name="connsiteX309" fmla="*/ 1058751 w 12191999"/>
              <a:gd name="connsiteY309" fmla="*/ 6324248 h 6858001"/>
              <a:gd name="connsiteX310" fmla="*/ 1068576 w 12191999"/>
              <a:gd name="connsiteY310" fmla="*/ 6327030 h 6858001"/>
              <a:gd name="connsiteX311" fmla="*/ 1072778 w 12191999"/>
              <a:gd name="connsiteY311" fmla="*/ 6334769 h 6858001"/>
              <a:gd name="connsiteX312" fmla="*/ 1083419 w 12191999"/>
              <a:gd name="connsiteY312" fmla="*/ 6333318 h 6858001"/>
              <a:gd name="connsiteX313" fmla="*/ 1079670 w 12191999"/>
              <a:gd name="connsiteY313" fmla="*/ 6323372 h 6858001"/>
              <a:gd name="connsiteX314" fmla="*/ 1071236 w 12191999"/>
              <a:gd name="connsiteY314" fmla="*/ 6317477 h 6858001"/>
              <a:gd name="connsiteX315" fmla="*/ 1057965 w 12191999"/>
              <a:gd name="connsiteY315" fmla="*/ 6315300 h 6858001"/>
              <a:gd name="connsiteX316" fmla="*/ 991290 w 12191999"/>
              <a:gd name="connsiteY316" fmla="*/ 6315300 h 6858001"/>
              <a:gd name="connsiteX317" fmla="*/ 981888 w 12191999"/>
              <a:gd name="connsiteY317" fmla="*/ 6316600 h 6858001"/>
              <a:gd name="connsiteX318" fmla="*/ 974965 w 12191999"/>
              <a:gd name="connsiteY318" fmla="*/ 6319774 h 6858001"/>
              <a:gd name="connsiteX319" fmla="*/ 969614 w 12191999"/>
              <a:gd name="connsiteY319" fmla="*/ 6325851 h 6858001"/>
              <a:gd name="connsiteX320" fmla="*/ 967649 w 12191999"/>
              <a:gd name="connsiteY320" fmla="*/ 6333801 h 6858001"/>
              <a:gd name="connsiteX321" fmla="*/ 970037 w 12191999"/>
              <a:gd name="connsiteY321" fmla="*/ 6342417 h 6858001"/>
              <a:gd name="connsiteX322" fmla="*/ 977051 w 12191999"/>
              <a:gd name="connsiteY322" fmla="*/ 6348524 h 6858001"/>
              <a:gd name="connsiteX323" fmla="*/ 993648 w 12191999"/>
              <a:gd name="connsiteY323" fmla="*/ 6353754 h 6858001"/>
              <a:gd name="connsiteX324" fmla="*/ 1004772 w 12191999"/>
              <a:gd name="connsiteY324" fmla="*/ 6357442 h 6858001"/>
              <a:gd name="connsiteX325" fmla="*/ 1007977 w 12191999"/>
              <a:gd name="connsiteY325" fmla="*/ 6363246 h 6858001"/>
              <a:gd name="connsiteX326" fmla="*/ 1004349 w 12191999"/>
              <a:gd name="connsiteY326" fmla="*/ 6370411 h 6858001"/>
              <a:gd name="connsiteX327" fmla="*/ 993224 w 12191999"/>
              <a:gd name="connsiteY327" fmla="*/ 6373464 h 6858001"/>
              <a:gd name="connsiteX328" fmla="*/ 981646 w 12191999"/>
              <a:gd name="connsiteY328" fmla="*/ 6370018 h 6858001"/>
              <a:gd name="connsiteX329" fmla="*/ 976598 w 12191999"/>
              <a:gd name="connsiteY329" fmla="*/ 6360102 h 6858001"/>
              <a:gd name="connsiteX330" fmla="*/ 965835 w 12191999"/>
              <a:gd name="connsiteY330" fmla="*/ 6361795 h 6858001"/>
              <a:gd name="connsiteX331" fmla="*/ 974209 w 12191999"/>
              <a:gd name="connsiteY331" fmla="*/ 6377213 h 6858001"/>
              <a:gd name="connsiteX332" fmla="*/ 993285 w 12191999"/>
              <a:gd name="connsiteY332" fmla="*/ 6382412 h 6858001"/>
              <a:gd name="connsiteX333" fmla="*/ 1006828 w 12191999"/>
              <a:gd name="connsiteY333" fmla="*/ 6379782 h 6858001"/>
              <a:gd name="connsiteX334" fmla="*/ 1015988 w 12191999"/>
              <a:gd name="connsiteY334" fmla="*/ 6372345 h 6858001"/>
              <a:gd name="connsiteX335" fmla="*/ 1019162 w 12191999"/>
              <a:gd name="connsiteY335" fmla="*/ 6362097 h 6858001"/>
              <a:gd name="connsiteX336" fmla="*/ 1016562 w 12191999"/>
              <a:gd name="connsiteY336" fmla="*/ 6352786 h 6858001"/>
              <a:gd name="connsiteX337" fmla="*/ 1009398 w 12191999"/>
              <a:gd name="connsiteY337" fmla="*/ 6347073 h 6858001"/>
              <a:gd name="connsiteX338" fmla="*/ 993285 w 12191999"/>
              <a:gd name="connsiteY338" fmla="*/ 6342024 h 6858001"/>
              <a:gd name="connsiteX339" fmla="*/ 983671 w 12191999"/>
              <a:gd name="connsiteY339" fmla="*/ 6339243 h 6858001"/>
              <a:gd name="connsiteX340" fmla="*/ 979500 w 12191999"/>
              <a:gd name="connsiteY340" fmla="*/ 6336341 h 6858001"/>
              <a:gd name="connsiteX341" fmla="*/ 978170 w 12191999"/>
              <a:gd name="connsiteY341" fmla="*/ 6332532 h 6858001"/>
              <a:gd name="connsiteX342" fmla="*/ 981374 w 12191999"/>
              <a:gd name="connsiteY342" fmla="*/ 6326727 h 6858001"/>
              <a:gd name="connsiteX343" fmla="*/ 992076 w 12191999"/>
              <a:gd name="connsiteY343" fmla="*/ 6324248 h 6858001"/>
              <a:gd name="connsiteX344" fmla="*/ 1001900 w 12191999"/>
              <a:gd name="connsiteY344" fmla="*/ 6327030 h 6858001"/>
              <a:gd name="connsiteX345" fmla="*/ 1006103 w 12191999"/>
              <a:gd name="connsiteY345" fmla="*/ 6334769 h 6858001"/>
              <a:gd name="connsiteX346" fmla="*/ 1016744 w 12191999"/>
              <a:gd name="connsiteY346" fmla="*/ 6333318 h 6858001"/>
              <a:gd name="connsiteX347" fmla="*/ 1012995 w 12191999"/>
              <a:gd name="connsiteY347" fmla="*/ 6323372 h 6858001"/>
              <a:gd name="connsiteX348" fmla="*/ 1004561 w 12191999"/>
              <a:gd name="connsiteY348" fmla="*/ 6317477 h 6858001"/>
              <a:gd name="connsiteX349" fmla="*/ 991290 w 12191999"/>
              <a:gd name="connsiteY349" fmla="*/ 6315300 h 6858001"/>
              <a:gd name="connsiteX350" fmla="*/ 929875 w 12191999"/>
              <a:gd name="connsiteY350" fmla="*/ 6315300 h 6858001"/>
              <a:gd name="connsiteX351" fmla="*/ 908229 w 12191999"/>
              <a:gd name="connsiteY351" fmla="*/ 6324248 h 6858001"/>
              <a:gd name="connsiteX352" fmla="*/ 899886 w 12191999"/>
              <a:gd name="connsiteY352" fmla="*/ 6349400 h 6858001"/>
              <a:gd name="connsiteX353" fmla="*/ 908139 w 12191999"/>
              <a:gd name="connsiteY353" fmla="*/ 6373736 h 6858001"/>
              <a:gd name="connsiteX354" fmla="*/ 930479 w 12191999"/>
              <a:gd name="connsiteY354" fmla="*/ 6382412 h 6858001"/>
              <a:gd name="connsiteX355" fmla="*/ 948860 w 12191999"/>
              <a:gd name="connsiteY355" fmla="*/ 6376971 h 6858001"/>
              <a:gd name="connsiteX356" fmla="*/ 958715 w 12191999"/>
              <a:gd name="connsiteY356" fmla="*/ 6361674 h 6858001"/>
              <a:gd name="connsiteX357" fmla="*/ 947469 w 12191999"/>
              <a:gd name="connsiteY357" fmla="*/ 6360283 h 6858001"/>
              <a:gd name="connsiteX358" fmla="*/ 940758 w 12191999"/>
              <a:gd name="connsiteY358" fmla="*/ 6370320 h 6858001"/>
              <a:gd name="connsiteX359" fmla="*/ 930540 w 12191999"/>
              <a:gd name="connsiteY359" fmla="*/ 6373464 h 6858001"/>
              <a:gd name="connsiteX360" fmla="*/ 917117 w 12191999"/>
              <a:gd name="connsiteY360" fmla="*/ 6367841 h 6858001"/>
              <a:gd name="connsiteX361" fmla="*/ 911132 w 12191999"/>
              <a:gd name="connsiteY361" fmla="*/ 6351637 h 6858001"/>
              <a:gd name="connsiteX362" fmla="*/ 959017 w 12191999"/>
              <a:gd name="connsiteY362" fmla="*/ 6351637 h 6858001"/>
              <a:gd name="connsiteX363" fmla="*/ 959078 w 12191999"/>
              <a:gd name="connsiteY363" fmla="*/ 6348735 h 6858001"/>
              <a:gd name="connsiteX364" fmla="*/ 950915 w 12191999"/>
              <a:gd name="connsiteY364" fmla="*/ 6324067 h 6858001"/>
              <a:gd name="connsiteX365" fmla="*/ 929875 w 12191999"/>
              <a:gd name="connsiteY365" fmla="*/ 6315300 h 6858001"/>
              <a:gd name="connsiteX366" fmla="*/ 867069 w 12191999"/>
              <a:gd name="connsiteY366" fmla="*/ 6315300 h 6858001"/>
              <a:gd name="connsiteX367" fmla="*/ 846633 w 12191999"/>
              <a:gd name="connsiteY367" fmla="*/ 6325881 h 6858001"/>
              <a:gd name="connsiteX368" fmla="*/ 846633 w 12191999"/>
              <a:gd name="connsiteY368" fmla="*/ 6316751 h 6858001"/>
              <a:gd name="connsiteX369" fmla="*/ 836839 w 12191999"/>
              <a:gd name="connsiteY369" fmla="*/ 6316751 h 6858001"/>
              <a:gd name="connsiteX370" fmla="*/ 836839 w 12191999"/>
              <a:gd name="connsiteY370" fmla="*/ 6380961 h 6858001"/>
              <a:gd name="connsiteX371" fmla="*/ 847722 w 12191999"/>
              <a:gd name="connsiteY371" fmla="*/ 6380961 h 6858001"/>
              <a:gd name="connsiteX372" fmla="*/ 847722 w 12191999"/>
              <a:gd name="connsiteY372" fmla="*/ 6345894 h 6858001"/>
              <a:gd name="connsiteX373" fmla="*/ 852770 w 12191999"/>
              <a:gd name="connsiteY373" fmla="*/ 6329146 h 6858001"/>
              <a:gd name="connsiteX374" fmla="*/ 864772 w 12191999"/>
              <a:gd name="connsiteY374" fmla="*/ 6324732 h 6858001"/>
              <a:gd name="connsiteX375" fmla="*/ 872360 w 12191999"/>
              <a:gd name="connsiteY375" fmla="*/ 6326697 h 6858001"/>
              <a:gd name="connsiteX376" fmla="*/ 876864 w 12191999"/>
              <a:gd name="connsiteY376" fmla="*/ 6331957 h 6858001"/>
              <a:gd name="connsiteX377" fmla="*/ 878134 w 12191999"/>
              <a:gd name="connsiteY377" fmla="*/ 6341903 h 6858001"/>
              <a:gd name="connsiteX378" fmla="*/ 878134 w 12191999"/>
              <a:gd name="connsiteY378" fmla="*/ 6380961 h 6858001"/>
              <a:gd name="connsiteX379" fmla="*/ 889017 w 12191999"/>
              <a:gd name="connsiteY379" fmla="*/ 6380961 h 6858001"/>
              <a:gd name="connsiteX380" fmla="*/ 889017 w 12191999"/>
              <a:gd name="connsiteY380" fmla="*/ 6341480 h 6858001"/>
              <a:gd name="connsiteX381" fmla="*/ 888412 w 12191999"/>
              <a:gd name="connsiteY381" fmla="*/ 6330899 h 6858001"/>
              <a:gd name="connsiteX382" fmla="*/ 885026 w 12191999"/>
              <a:gd name="connsiteY382" fmla="*/ 6322858 h 6858001"/>
              <a:gd name="connsiteX383" fmla="*/ 877741 w 12191999"/>
              <a:gd name="connsiteY383" fmla="*/ 6317386 h 6858001"/>
              <a:gd name="connsiteX384" fmla="*/ 867069 w 12191999"/>
              <a:gd name="connsiteY384" fmla="*/ 6315300 h 6858001"/>
              <a:gd name="connsiteX385" fmla="*/ 762690 w 12191999"/>
              <a:gd name="connsiteY385" fmla="*/ 6315300 h 6858001"/>
              <a:gd name="connsiteX386" fmla="*/ 753288 w 12191999"/>
              <a:gd name="connsiteY386" fmla="*/ 6316600 h 6858001"/>
              <a:gd name="connsiteX387" fmla="*/ 746365 w 12191999"/>
              <a:gd name="connsiteY387" fmla="*/ 6319774 h 6858001"/>
              <a:gd name="connsiteX388" fmla="*/ 741014 w 12191999"/>
              <a:gd name="connsiteY388" fmla="*/ 6325851 h 6858001"/>
              <a:gd name="connsiteX389" fmla="*/ 739049 w 12191999"/>
              <a:gd name="connsiteY389" fmla="*/ 6333801 h 6858001"/>
              <a:gd name="connsiteX390" fmla="*/ 741437 w 12191999"/>
              <a:gd name="connsiteY390" fmla="*/ 6342417 h 6858001"/>
              <a:gd name="connsiteX391" fmla="*/ 748451 w 12191999"/>
              <a:gd name="connsiteY391" fmla="*/ 6348524 h 6858001"/>
              <a:gd name="connsiteX392" fmla="*/ 765048 w 12191999"/>
              <a:gd name="connsiteY392" fmla="*/ 6353754 h 6858001"/>
              <a:gd name="connsiteX393" fmla="*/ 776172 w 12191999"/>
              <a:gd name="connsiteY393" fmla="*/ 6357442 h 6858001"/>
              <a:gd name="connsiteX394" fmla="*/ 779377 w 12191999"/>
              <a:gd name="connsiteY394" fmla="*/ 6363246 h 6858001"/>
              <a:gd name="connsiteX395" fmla="*/ 775749 w 12191999"/>
              <a:gd name="connsiteY395" fmla="*/ 6370411 h 6858001"/>
              <a:gd name="connsiteX396" fmla="*/ 764624 w 12191999"/>
              <a:gd name="connsiteY396" fmla="*/ 6373464 h 6858001"/>
              <a:gd name="connsiteX397" fmla="*/ 753046 w 12191999"/>
              <a:gd name="connsiteY397" fmla="*/ 6370018 h 6858001"/>
              <a:gd name="connsiteX398" fmla="*/ 747997 w 12191999"/>
              <a:gd name="connsiteY398" fmla="*/ 6360102 h 6858001"/>
              <a:gd name="connsiteX399" fmla="*/ 737235 w 12191999"/>
              <a:gd name="connsiteY399" fmla="*/ 6361795 h 6858001"/>
              <a:gd name="connsiteX400" fmla="*/ 745609 w 12191999"/>
              <a:gd name="connsiteY400" fmla="*/ 6377213 h 6858001"/>
              <a:gd name="connsiteX401" fmla="*/ 764685 w 12191999"/>
              <a:gd name="connsiteY401" fmla="*/ 6382412 h 6858001"/>
              <a:gd name="connsiteX402" fmla="*/ 778228 w 12191999"/>
              <a:gd name="connsiteY402" fmla="*/ 6379782 h 6858001"/>
              <a:gd name="connsiteX403" fmla="*/ 787388 w 12191999"/>
              <a:gd name="connsiteY403" fmla="*/ 6372345 h 6858001"/>
              <a:gd name="connsiteX404" fmla="*/ 790562 w 12191999"/>
              <a:gd name="connsiteY404" fmla="*/ 6362097 h 6858001"/>
              <a:gd name="connsiteX405" fmla="*/ 787962 w 12191999"/>
              <a:gd name="connsiteY405" fmla="*/ 6352786 h 6858001"/>
              <a:gd name="connsiteX406" fmla="*/ 780798 w 12191999"/>
              <a:gd name="connsiteY406" fmla="*/ 6347073 h 6858001"/>
              <a:gd name="connsiteX407" fmla="*/ 764685 w 12191999"/>
              <a:gd name="connsiteY407" fmla="*/ 6342024 h 6858001"/>
              <a:gd name="connsiteX408" fmla="*/ 755071 w 12191999"/>
              <a:gd name="connsiteY408" fmla="*/ 6339243 h 6858001"/>
              <a:gd name="connsiteX409" fmla="*/ 750900 w 12191999"/>
              <a:gd name="connsiteY409" fmla="*/ 6336341 h 6858001"/>
              <a:gd name="connsiteX410" fmla="*/ 749569 w 12191999"/>
              <a:gd name="connsiteY410" fmla="*/ 6332532 h 6858001"/>
              <a:gd name="connsiteX411" fmla="*/ 752774 w 12191999"/>
              <a:gd name="connsiteY411" fmla="*/ 6326727 h 6858001"/>
              <a:gd name="connsiteX412" fmla="*/ 763476 w 12191999"/>
              <a:gd name="connsiteY412" fmla="*/ 6324248 h 6858001"/>
              <a:gd name="connsiteX413" fmla="*/ 773301 w 12191999"/>
              <a:gd name="connsiteY413" fmla="*/ 6327030 h 6858001"/>
              <a:gd name="connsiteX414" fmla="*/ 777503 w 12191999"/>
              <a:gd name="connsiteY414" fmla="*/ 6334769 h 6858001"/>
              <a:gd name="connsiteX415" fmla="*/ 788144 w 12191999"/>
              <a:gd name="connsiteY415" fmla="*/ 6333318 h 6858001"/>
              <a:gd name="connsiteX416" fmla="*/ 784395 w 12191999"/>
              <a:gd name="connsiteY416" fmla="*/ 6323372 h 6858001"/>
              <a:gd name="connsiteX417" fmla="*/ 775961 w 12191999"/>
              <a:gd name="connsiteY417" fmla="*/ 6317477 h 6858001"/>
              <a:gd name="connsiteX418" fmla="*/ 762690 w 12191999"/>
              <a:gd name="connsiteY418" fmla="*/ 6315300 h 6858001"/>
              <a:gd name="connsiteX419" fmla="*/ 525681 w 12191999"/>
              <a:gd name="connsiteY419" fmla="*/ 6301636 h 6858001"/>
              <a:gd name="connsiteX420" fmla="*/ 531969 w 12191999"/>
              <a:gd name="connsiteY420" fmla="*/ 6320016 h 6858001"/>
              <a:gd name="connsiteX421" fmla="*/ 541219 w 12191999"/>
              <a:gd name="connsiteY421" fmla="*/ 6344563 h 6858001"/>
              <a:gd name="connsiteX422" fmla="*/ 511170 w 12191999"/>
              <a:gd name="connsiteY422" fmla="*/ 6344563 h 6858001"/>
              <a:gd name="connsiteX423" fmla="*/ 520904 w 12191999"/>
              <a:gd name="connsiteY423" fmla="*/ 6318565 h 6858001"/>
              <a:gd name="connsiteX424" fmla="*/ 525681 w 12191999"/>
              <a:gd name="connsiteY424" fmla="*/ 6301636 h 6858001"/>
              <a:gd name="connsiteX425" fmla="*/ 1847396 w 12191999"/>
              <a:gd name="connsiteY425" fmla="*/ 6292325 h 6858001"/>
              <a:gd name="connsiteX426" fmla="*/ 1847396 w 12191999"/>
              <a:gd name="connsiteY426" fmla="*/ 6380961 h 6858001"/>
              <a:gd name="connsiteX427" fmla="*/ 1902778 w 12191999"/>
              <a:gd name="connsiteY427" fmla="*/ 6380961 h 6858001"/>
              <a:gd name="connsiteX428" fmla="*/ 1902778 w 12191999"/>
              <a:gd name="connsiteY428" fmla="*/ 6370501 h 6858001"/>
              <a:gd name="connsiteX429" fmla="*/ 1859125 w 12191999"/>
              <a:gd name="connsiteY429" fmla="*/ 6370501 h 6858001"/>
              <a:gd name="connsiteX430" fmla="*/ 1859125 w 12191999"/>
              <a:gd name="connsiteY430" fmla="*/ 6292325 h 6858001"/>
              <a:gd name="connsiteX431" fmla="*/ 1676067 w 12191999"/>
              <a:gd name="connsiteY431" fmla="*/ 6292325 h 6858001"/>
              <a:gd name="connsiteX432" fmla="*/ 1676067 w 12191999"/>
              <a:gd name="connsiteY432" fmla="*/ 6380961 h 6858001"/>
              <a:gd name="connsiteX433" fmla="*/ 1687373 w 12191999"/>
              <a:gd name="connsiteY433" fmla="*/ 6380961 h 6858001"/>
              <a:gd name="connsiteX434" fmla="*/ 1687373 w 12191999"/>
              <a:gd name="connsiteY434" fmla="*/ 6305505 h 6858001"/>
              <a:gd name="connsiteX435" fmla="*/ 1713008 w 12191999"/>
              <a:gd name="connsiteY435" fmla="*/ 6380961 h 6858001"/>
              <a:gd name="connsiteX436" fmla="*/ 1723589 w 12191999"/>
              <a:gd name="connsiteY436" fmla="*/ 6380961 h 6858001"/>
              <a:gd name="connsiteX437" fmla="*/ 1749346 w 12191999"/>
              <a:gd name="connsiteY437" fmla="*/ 6306775 h 6858001"/>
              <a:gd name="connsiteX438" fmla="*/ 1749346 w 12191999"/>
              <a:gd name="connsiteY438" fmla="*/ 6380961 h 6858001"/>
              <a:gd name="connsiteX439" fmla="*/ 1760652 w 12191999"/>
              <a:gd name="connsiteY439" fmla="*/ 6380961 h 6858001"/>
              <a:gd name="connsiteX440" fmla="*/ 1760652 w 12191999"/>
              <a:gd name="connsiteY440" fmla="*/ 6292325 h 6858001"/>
              <a:gd name="connsiteX441" fmla="*/ 1744872 w 12191999"/>
              <a:gd name="connsiteY441" fmla="*/ 6292325 h 6858001"/>
              <a:gd name="connsiteX442" fmla="*/ 1723650 w 12191999"/>
              <a:gd name="connsiteY442" fmla="*/ 6353995 h 6858001"/>
              <a:gd name="connsiteX443" fmla="*/ 1718933 w 12191999"/>
              <a:gd name="connsiteY443" fmla="*/ 6368204 h 6858001"/>
              <a:gd name="connsiteX444" fmla="*/ 1714701 w 12191999"/>
              <a:gd name="connsiteY444" fmla="*/ 6355084 h 6858001"/>
              <a:gd name="connsiteX445" fmla="*/ 1693721 w 12191999"/>
              <a:gd name="connsiteY445" fmla="*/ 6292325 h 6858001"/>
              <a:gd name="connsiteX446" fmla="*/ 1560739 w 12191999"/>
              <a:gd name="connsiteY446" fmla="*/ 6292325 h 6858001"/>
              <a:gd name="connsiteX447" fmla="*/ 1560739 w 12191999"/>
              <a:gd name="connsiteY447" fmla="*/ 6380961 h 6858001"/>
              <a:gd name="connsiteX448" fmla="*/ 1571622 w 12191999"/>
              <a:gd name="connsiteY448" fmla="*/ 6380961 h 6858001"/>
              <a:gd name="connsiteX449" fmla="*/ 1571622 w 12191999"/>
              <a:gd name="connsiteY449" fmla="*/ 6345833 h 6858001"/>
              <a:gd name="connsiteX450" fmla="*/ 1573435 w 12191999"/>
              <a:gd name="connsiteY450" fmla="*/ 6333983 h 6858001"/>
              <a:gd name="connsiteX451" fmla="*/ 1579512 w 12191999"/>
              <a:gd name="connsiteY451" fmla="*/ 6327181 h 6858001"/>
              <a:gd name="connsiteX452" fmla="*/ 1588611 w 12191999"/>
              <a:gd name="connsiteY452" fmla="*/ 6324672 h 6858001"/>
              <a:gd name="connsiteX453" fmla="*/ 1598618 w 12191999"/>
              <a:gd name="connsiteY453" fmla="*/ 6328390 h 6858001"/>
              <a:gd name="connsiteX454" fmla="*/ 1602155 w 12191999"/>
              <a:gd name="connsiteY454" fmla="*/ 6340271 h 6858001"/>
              <a:gd name="connsiteX455" fmla="*/ 1602155 w 12191999"/>
              <a:gd name="connsiteY455" fmla="*/ 6380961 h 6858001"/>
              <a:gd name="connsiteX456" fmla="*/ 1613038 w 12191999"/>
              <a:gd name="connsiteY456" fmla="*/ 6380961 h 6858001"/>
              <a:gd name="connsiteX457" fmla="*/ 1613038 w 12191999"/>
              <a:gd name="connsiteY457" fmla="*/ 6340271 h 6858001"/>
              <a:gd name="connsiteX458" fmla="*/ 1610771 w 12191999"/>
              <a:gd name="connsiteY458" fmla="*/ 6325881 h 6858001"/>
              <a:gd name="connsiteX459" fmla="*/ 1603243 w 12191999"/>
              <a:gd name="connsiteY459" fmla="*/ 6318112 h 6858001"/>
              <a:gd name="connsiteX460" fmla="*/ 1590848 w 12191999"/>
              <a:gd name="connsiteY460" fmla="*/ 6315300 h 6858001"/>
              <a:gd name="connsiteX461" fmla="*/ 1571622 w 12191999"/>
              <a:gd name="connsiteY461" fmla="*/ 6324128 h 6858001"/>
              <a:gd name="connsiteX462" fmla="*/ 1571622 w 12191999"/>
              <a:gd name="connsiteY462" fmla="*/ 6292325 h 6858001"/>
              <a:gd name="connsiteX463" fmla="*/ 1285542 w 12191999"/>
              <a:gd name="connsiteY463" fmla="*/ 6292325 h 6858001"/>
              <a:gd name="connsiteX464" fmla="*/ 1285542 w 12191999"/>
              <a:gd name="connsiteY464" fmla="*/ 6380961 h 6858001"/>
              <a:gd name="connsiteX465" fmla="*/ 1296848 w 12191999"/>
              <a:gd name="connsiteY465" fmla="*/ 6380961 h 6858001"/>
              <a:gd name="connsiteX466" fmla="*/ 1296848 w 12191999"/>
              <a:gd name="connsiteY466" fmla="*/ 6305505 h 6858001"/>
              <a:gd name="connsiteX467" fmla="*/ 1322484 w 12191999"/>
              <a:gd name="connsiteY467" fmla="*/ 6380961 h 6858001"/>
              <a:gd name="connsiteX468" fmla="*/ 1333064 w 12191999"/>
              <a:gd name="connsiteY468" fmla="*/ 6380961 h 6858001"/>
              <a:gd name="connsiteX469" fmla="*/ 1358821 w 12191999"/>
              <a:gd name="connsiteY469" fmla="*/ 6306775 h 6858001"/>
              <a:gd name="connsiteX470" fmla="*/ 1358821 w 12191999"/>
              <a:gd name="connsiteY470" fmla="*/ 6380961 h 6858001"/>
              <a:gd name="connsiteX471" fmla="*/ 1370127 w 12191999"/>
              <a:gd name="connsiteY471" fmla="*/ 6380961 h 6858001"/>
              <a:gd name="connsiteX472" fmla="*/ 1370127 w 12191999"/>
              <a:gd name="connsiteY472" fmla="*/ 6292325 h 6858001"/>
              <a:gd name="connsiteX473" fmla="*/ 1354347 w 12191999"/>
              <a:gd name="connsiteY473" fmla="*/ 6292325 h 6858001"/>
              <a:gd name="connsiteX474" fmla="*/ 1333125 w 12191999"/>
              <a:gd name="connsiteY474" fmla="*/ 6353995 h 6858001"/>
              <a:gd name="connsiteX475" fmla="*/ 1328409 w 12191999"/>
              <a:gd name="connsiteY475" fmla="*/ 6368204 h 6858001"/>
              <a:gd name="connsiteX476" fmla="*/ 1324176 w 12191999"/>
              <a:gd name="connsiteY476" fmla="*/ 6355084 h 6858001"/>
              <a:gd name="connsiteX477" fmla="*/ 1303196 w 12191999"/>
              <a:gd name="connsiteY477" fmla="*/ 6292325 h 6858001"/>
              <a:gd name="connsiteX478" fmla="*/ 808324 w 12191999"/>
              <a:gd name="connsiteY478" fmla="*/ 6292325 h 6858001"/>
              <a:gd name="connsiteX479" fmla="*/ 808324 w 12191999"/>
              <a:gd name="connsiteY479" fmla="*/ 6304840 h 6858001"/>
              <a:gd name="connsiteX480" fmla="*/ 819207 w 12191999"/>
              <a:gd name="connsiteY480" fmla="*/ 6304840 h 6858001"/>
              <a:gd name="connsiteX481" fmla="*/ 819207 w 12191999"/>
              <a:gd name="connsiteY481" fmla="*/ 6292325 h 6858001"/>
              <a:gd name="connsiteX482" fmla="*/ 608178 w 12191999"/>
              <a:gd name="connsiteY482" fmla="*/ 6292325 h 6858001"/>
              <a:gd name="connsiteX483" fmla="*/ 608178 w 12191999"/>
              <a:gd name="connsiteY483" fmla="*/ 6380961 h 6858001"/>
              <a:gd name="connsiteX484" fmla="*/ 618275 w 12191999"/>
              <a:gd name="connsiteY484" fmla="*/ 6380961 h 6858001"/>
              <a:gd name="connsiteX485" fmla="*/ 618275 w 12191999"/>
              <a:gd name="connsiteY485" fmla="*/ 6372920 h 6858001"/>
              <a:gd name="connsiteX486" fmla="*/ 636111 w 12191999"/>
              <a:gd name="connsiteY486" fmla="*/ 6382412 h 6858001"/>
              <a:gd name="connsiteX487" fmla="*/ 655701 w 12191999"/>
              <a:gd name="connsiteY487" fmla="*/ 6373404 h 6858001"/>
              <a:gd name="connsiteX488" fmla="*/ 663863 w 12191999"/>
              <a:gd name="connsiteY488" fmla="*/ 6347889 h 6858001"/>
              <a:gd name="connsiteX489" fmla="*/ 661928 w 12191999"/>
              <a:gd name="connsiteY489" fmla="*/ 6334829 h 6858001"/>
              <a:gd name="connsiteX490" fmla="*/ 656577 w 12191999"/>
              <a:gd name="connsiteY490" fmla="*/ 6324400 h 6858001"/>
              <a:gd name="connsiteX491" fmla="*/ 647871 w 12191999"/>
              <a:gd name="connsiteY491" fmla="*/ 6317688 h 6858001"/>
              <a:gd name="connsiteX492" fmla="*/ 636655 w 12191999"/>
              <a:gd name="connsiteY492" fmla="*/ 6315300 h 6858001"/>
              <a:gd name="connsiteX493" fmla="*/ 619061 w 12191999"/>
              <a:gd name="connsiteY493" fmla="*/ 6323946 h 6858001"/>
              <a:gd name="connsiteX494" fmla="*/ 619061 w 12191999"/>
              <a:gd name="connsiteY494" fmla="*/ 6292325 h 6858001"/>
              <a:gd name="connsiteX495" fmla="*/ 519635 w 12191999"/>
              <a:gd name="connsiteY495" fmla="*/ 6292325 h 6858001"/>
              <a:gd name="connsiteX496" fmla="*/ 485595 w 12191999"/>
              <a:gd name="connsiteY496" fmla="*/ 6380961 h 6858001"/>
              <a:gd name="connsiteX497" fmla="*/ 498050 w 12191999"/>
              <a:gd name="connsiteY497" fmla="*/ 6380961 h 6858001"/>
              <a:gd name="connsiteX498" fmla="*/ 507784 w 12191999"/>
              <a:gd name="connsiteY498" fmla="*/ 6354116 h 6858001"/>
              <a:gd name="connsiteX499" fmla="*/ 544847 w 12191999"/>
              <a:gd name="connsiteY499" fmla="*/ 6354116 h 6858001"/>
              <a:gd name="connsiteX500" fmla="*/ 555186 w 12191999"/>
              <a:gd name="connsiteY500" fmla="*/ 6380961 h 6858001"/>
              <a:gd name="connsiteX501" fmla="*/ 568548 w 12191999"/>
              <a:gd name="connsiteY501" fmla="*/ 6380961 h 6858001"/>
              <a:gd name="connsiteX502" fmla="*/ 532271 w 12191999"/>
              <a:gd name="connsiteY502" fmla="*/ 6292325 h 6858001"/>
              <a:gd name="connsiteX503" fmla="*/ 1228689 w 12191999"/>
              <a:gd name="connsiteY503" fmla="*/ 6290813 h 6858001"/>
              <a:gd name="connsiteX504" fmla="*/ 1217594 w 12191999"/>
              <a:gd name="connsiteY504" fmla="*/ 6293443 h 6858001"/>
              <a:gd name="connsiteX505" fmla="*/ 1212062 w 12191999"/>
              <a:gd name="connsiteY505" fmla="*/ 6300306 h 6858001"/>
              <a:gd name="connsiteX506" fmla="*/ 1210914 w 12191999"/>
              <a:gd name="connsiteY506" fmla="*/ 6309919 h 6858001"/>
              <a:gd name="connsiteX507" fmla="*/ 1210914 w 12191999"/>
              <a:gd name="connsiteY507" fmla="*/ 6316751 h 6858001"/>
              <a:gd name="connsiteX508" fmla="*/ 1201300 w 12191999"/>
              <a:gd name="connsiteY508" fmla="*/ 6316751 h 6858001"/>
              <a:gd name="connsiteX509" fmla="*/ 1201300 w 12191999"/>
              <a:gd name="connsiteY509" fmla="*/ 6325216 h 6858001"/>
              <a:gd name="connsiteX510" fmla="*/ 1210914 w 12191999"/>
              <a:gd name="connsiteY510" fmla="*/ 6325216 h 6858001"/>
              <a:gd name="connsiteX511" fmla="*/ 1210914 w 12191999"/>
              <a:gd name="connsiteY511" fmla="*/ 6380961 h 6858001"/>
              <a:gd name="connsiteX512" fmla="*/ 1221736 w 12191999"/>
              <a:gd name="connsiteY512" fmla="*/ 6380961 h 6858001"/>
              <a:gd name="connsiteX513" fmla="*/ 1221736 w 12191999"/>
              <a:gd name="connsiteY513" fmla="*/ 6325216 h 6858001"/>
              <a:gd name="connsiteX514" fmla="*/ 1234252 w 12191999"/>
              <a:gd name="connsiteY514" fmla="*/ 6325216 h 6858001"/>
              <a:gd name="connsiteX515" fmla="*/ 1234252 w 12191999"/>
              <a:gd name="connsiteY515" fmla="*/ 6316751 h 6858001"/>
              <a:gd name="connsiteX516" fmla="*/ 1221736 w 12191999"/>
              <a:gd name="connsiteY516" fmla="*/ 6316751 h 6858001"/>
              <a:gd name="connsiteX517" fmla="*/ 1221736 w 12191999"/>
              <a:gd name="connsiteY517" fmla="*/ 6310826 h 6858001"/>
              <a:gd name="connsiteX518" fmla="*/ 1223792 w 12191999"/>
              <a:gd name="connsiteY518" fmla="*/ 6302906 h 6858001"/>
              <a:gd name="connsiteX519" fmla="*/ 1230805 w 12191999"/>
              <a:gd name="connsiteY519" fmla="*/ 6300789 h 6858001"/>
              <a:gd name="connsiteX520" fmla="*/ 1237214 w 12191999"/>
              <a:gd name="connsiteY520" fmla="*/ 6301394 h 6858001"/>
              <a:gd name="connsiteX521" fmla="*/ 1238847 w 12191999"/>
              <a:gd name="connsiteY521" fmla="*/ 6291902 h 6858001"/>
              <a:gd name="connsiteX522" fmla="*/ 1228689 w 12191999"/>
              <a:gd name="connsiteY522" fmla="*/ 6290813 h 6858001"/>
              <a:gd name="connsiteX523" fmla="*/ 7175501 w 12191999"/>
              <a:gd name="connsiteY523" fmla="*/ 1 h 6858001"/>
              <a:gd name="connsiteX524" fmla="*/ 12191999 w 12191999"/>
              <a:gd name="connsiteY524" fmla="*/ 1 h 6858001"/>
              <a:gd name="connsiteX525" fmla="*/ 12191999 w 12191999"/>
              <a:gd name="connsiteY525" fmla="*/ 6858001 h 6858001"/>
              <a:gd name="connsiteX526" fmla="*/ 1 w 12191999"/>
              <a:gd name="connsiteY526" fmla="*/ 6858001 h 6858001"/>
              <a:gd name="connsiteX527" fmla="*/ 1 w 12191999"/>
              <a:gd name="connsiteY527" fmla="*/ 5752619 h 6858001"/>
              <a:gd name="connsiteX528" fmla="*/ 7175501 w 12191999"/>
              <a:gd name="connsiteY528" fmla="*/ 5752619 h 6858001"/>
              <a:gd name="connsiteX529" fmla="*/ 0 w 12191999"/>
              <a:gd name="connsiteY529" fmla="*/ 0 h 6858001"/>
              <a:gd name="connsiteX530" fmla="*/ 7175501 w 12191999"/>
              <a:gd name="connsiteY530" fmla="*/ 0 h 6858001"/>
              <a:gd name="connsiteX531" fmla="*/ 7175501 w 12191999"/>
              <a:gd name="connsiteY531" fmla="*/ 1 h 6858001"/>
              <a:gd name="connsiteX532" fmla="*/ 1 w 12191999"/>
              <a:gd name="connsiteY532" fmla="*/ 1 h 6858001"/>
              <a:gd name="connsiteX533" fmla="*/ 1 w 12191999"/>
              <a:gd name="connsiteY533" fmla="*/ 5752619 h 6858001"/>
              <a:gd name="connsiteX534" fmla="*/ 0 w 12191999"/>
              <a:gd name="connsiteY534" fmla="*/ 575261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Lst>
            <a:rect l="l" t="t" r="r" b="b"/>
            <a:pathLst>
              <a:path w="12191999" h="6858001">
                <a:moveTo>
                  <a:pt x="2154182" y="6348735"/>
                </a:moveTo>
                <a:lnTo>
                  <a:pt x="2154182" y="6352726"/>
                </a:lnTo>
                <a:cubicBezTo>
                  <a:pt x="2154182" y="6357522"/>
                  <a:pt x="2153597" y="6361150"/>
                  <a:pt x="2152428" y="6363609"/>
                </a:cubicBezTo>
                <a:cubicBezTo>
                  <a:pt x="2150896" y="6366793"/>
                  <a:pt x="2148498" y="6369302"/>
                  <a:pt x="2145233" y="6371136"/>
                </a:cubicBezTo>
                <a:cubicBezTo>
                  <a:pt x="2141968" y="6372970"/>
                  <a:pt x="2138240" y="6373887"/>
                  <a:pt x="2134048" y="6373887"/>
                </a:cubicBezTo>
                <a:cubicBezTo>
                  <a:pt x="2129816" y="6373887"/>
                  <a:pt x="2126601" y="6372920"/>
                  <a:pt x="2124404" y="6370985"/>
                </a:cubicBezTo>
                <a:cubicBezTo>
                  <a:pt x="2122207" y="6369050"/>
                  <a:pt x="2121109" y="6366632"/>
                  <a:pt x="2121109" y="6363730"/>
                </a:cubicBezTo>
                <a:cubicBezTo>
                  <a:pt x="2121109" y="6361835"/>
                  <a:pt x="2121613" y="6360112"/>
                  <a:pt x="2122621" y="6358560"/>
                </a:cubicBezTo>
                <a:cubicBezTo>
                  <a:pt x="2123628" y="6357008"/>
                  <a:pt x="2125059" y="6355829"/>
                  <a:pt x="2126913" y="6355023"/>
                </a:cubicBezTo>
                <a:cubicBezTo>
                  <a:pt x="2128768" y="6354217"/>
                  <a:pt x="2131932" y="6353492"/>
                  <a:pt x="2136406" y="6352847"/>
                </a:cubicBezTo>
                <a:cubicBezTo>
                  <a:pt x="2144306" y="6351718"/>
                  <a:pt x="2150231" y="6350348"/>
                  <a:pt x="2154182" y="6348735"/>
                </a:cubicBezTo>
                <a:close/>
                <a:moveTo>
                  <a:pt x="1430281" y="6348735"/>
                </a:moveTo>
                <a:lnTo>
                  <a:pt x="1430281" y="6352726"/>
                </a:lnTo>
                <a:cubicBezTo>
                  <a:pt x="1430281" y="6357522"/>
                  <a:pt x="1429697" y="6361150"/>
                  <a:pt x="1428528" y="6363609"/>
                </a:cubicBezTo>
                <a:cubicBezTo>
                  <a:pt x="1426997" y="6366793"/>
                  <a:pt x="1424598" y="6369302"/>
                  <a:pt x="1421333" y="6371136"/>
                </a:cubicBezTo>
                <a:cubicBezTo>
                  <a:pt x="1418068" y="6372970"/>
                  <a:pt x="1414340" y="6373887"/>
                  <a:pt x="1410148" y="6373887"/>
                </a:cubicBezTo>
                <a:cubicBezTo>
                  <a:pt x="1405916" y="6373887"/>
                  <a:pt x="1402701" y="6372920"/>
                  <a:pt x="1400504" y="6370985"/>
                </a:cubicBezTo>
                <a:cubicBezTo>
                  <a:pt x="1398308" y="6369050"/>
                  <a:pt x="1397209" y="6366632"/>
                  <a:pt x="1397209" y="6363730"/>
                </a:cubicBezTo>
                <a:cubicBezTo>
                  <a:pt x="1397209" y="6361835"/>
                  <a:pt x="1397713" y="6360112"/>
                  <a:pt x="1398721" y="6358560"/>
                </a:cubicBezTo>
                <a:cubicBezTo>
                  <a:pt x="1399728" y="6357008"/>
                  <a:pt x="1401159" y="6355829"/>
                  <a:pt x="1403013" y="6355023"/>
                </a:cubicBezTo>
                <a:cubicBezTo>
                  <a:pt x="1404867" y="6354217"/>
                  <a:pt x="1408032" y="6353492"/>
                  <a:pt x="1412506" y="6352847"/>
                </a:cubicBezTo>
                <a:cubicBezTo>
                  <a:pt x="1420406" y="6351718"/>
                  <a:pt x="1426331" y="6350348"/>
                  <a:pt x="1430281" y="6348735"/>
                </a:cubicBezTo>
                <a:close/>
                <a:moveTo>
                  <a:pt x="1167698" y="6324309"/>
                </a:moveTo>
                <a:cubicBezTo>
                  <a:pt x="1173058" y="6324309"/>
                  <a:pt x="1177543" y="6326355"/>
                  <a:pt x="1181150" y="6330446"/>
                </a:cubicBezTo>
                <a:cubicBezTo>
                  <a:pt x="1184758" y="6334537"/>
                  <a:pt x="1186561" y="6340553"/>
                  <a:pt x="1186561" y="6348493"/>
                </a:cubicBezTo>
                <a:cubicBezTo>
                  <a:pt x="1186561" y="6356918"/>
                  <a:pt x="1184768" y="6363186"/>
                  <a:pt x="1181180" y="6367297"/>
                </a:cubicBezTo>
                <a:cubicBezTo>
                  <a:pt x="1177593" y="6371408"/>
                  <a:pt x="1173099" y="6373464"/>
                  <a:pt x="1167698" y="6373464"/>
                </a:cubicBezTo>
                <a:cubicBezTo>
                  <a:pt x="1162256" y="6373464"/>
                  <a:pt x="1157741" y="6371418"/>
                  <a:pt x="1154154" y="6367327"/>
                </a:cubicBezTo>
                <a:cubicBezTo>
                  <a:pt x="1150567" y="6363236"/>
                  <a:pt x="1148773" y="6357079"/>
                  <a:pt x="1148773" y="6348856"/>
                </a:cubicBezTo>
                <a:cubicBezTo>
                  <a:pt x="1148773" y="6340633"/>
                  <a:pt x="1150567" y="6334487"/>
                  <a:pt x="1154154" y="6330415"/>
                </a:cubicBezTo>
                <a:cubicBezTo>
                  <a:pt x="1157741" y="6326344"/>
                  <a:pt x="1162256" y="6324309"/>
                  <a:pt x="1167698" y="6324309"/>
                </a:cubicBezTo>
                <a:close/>
                <a:moveTo>
                  <a:pt x="1939646" y="6324248"/>
                </a:moveTo>
                <a:cubicBezTo>
                  <a:pt x="1945168" y="6324248"/>
                  <a:pt x="1949662" y="6326344"/>
                  <a:pt x="1953129" y="6330536"/>
                </a:cubicBezTo>
                <a:cubicBezTo>
                  <a:pt x="1955386" y="6333237"/>
                  <a:pt x="1956756" y="6337288"/>
                  <a:pt x="1957240" y="6342689"/>
                </a:cubicBezTo>
                <a:lnTo>
                  <a:pt x="1921387" y="6342689"/>
                </a:lnTo>
                <a:cubicBezTo>
                  <a:pt x="1921749" y="6337086"/>
                  <a:pt x="1923634" y="6332612"/>
                  <a:pt x="1927040" y="6329267"/>
                </a:cubicBezTo>
                <a:cubicBezTo>
                  <a:pt x="1930445" y="6325921"/>
                  <a:pt x="1934648" y="6324248"/>
                  <a:pt x="1939646" y="6324248"/>
                </a:cubicBezTo>
                <a:close/>
                <a:moveTo>
                  <a:pt x="929996" y="6324248"/>
                </a:moveTo>
                <a:cubicBezTo>
                  <a:pt x="935518" y="6324248"/>
                  <a:pt x="940012" y="6326344"/>
                  <a:pt x="943479" y="6330536"/>
                </a:cubicBezTo>
                <a:cubicBezTo>
                  <a:pt x="945736" y="6333237"/>
                  <a:pt x="947106" y="6337288"/>
                  <a:pt x="947590" y="6342689"/>
                </a:cubicBezTo>
                <a:lnTo>
                  <a:pt x="911736" y="6342689"/>
                </a:lnTo>
                <a:cubicBezTo>
                  <a:pt x="912099" y="6337086"/>
                  <a:pt x="913983" y="6332612"/>
                  <a:pt x="917389" y="6329267"/>
                </a:cubicBezTo>
                <a:cubicBezTo>
                  <a:pt x="920795" y="6325921"/>
                  <a:pt x="924997" y="6324248"/>
                  <a:pt x="929996" y="6324248"/>
                </a:cubicBezTo>
                <a:close/>
                <a:moveTo>
                  <a:pt x="635688" y="6324248"/>
                </a:moveTo>
                <a:cubicBezTo>
                  <a:pt x="640404" y="6324248"/>
                  <a:pt x="644425" y="6326244"/>
                  <a:pt x="647750" y="6330234"/>
                </a:cubicBezTo>
                <a:cubicBezTo>
                  <a:pt x="651075" y="6334225"/>
                  <a:pt x="652738" y="6340412"/>
                  <a:pt x="652738" y="6348796"/>
                </a:cubicBezTo>
                <a:cubicBezTo>
                  <a:pt x="652738" y="6356978"/>
                  <a:pt x="651005" y="6363135"/>
                  <a:pt x="647538" y="6367267"/>
                </a:cubicBezTo>
                <a:cubicBezTo>
                  <a:pt x="644072" y="6371398"/>
                  <a:pt x="639961" y="6373464"/>
                  <a:pt x="635204" y="6373464"/>
                </a:cubicBezTo>
                <a:cubicBezTo>
                  <a:pt x="629360" y="6373464"/>
                  <a:pt x="624724" y="6370663"/>
                  <a:pt x="621298" y="6365060"/>
                </a:cubicBezTo>
                <a:cubicBezTo>
                  <a:pt x="619202" y="6361634"/>
                  <a:pt x="618154" y="6356071"/>
                  <a:pt x="618154" y="6348373"/>
                </a:cubicBezTo>
                <a:cubicBezTo>
                  <a:pt x="618154" y="6340553"/>
                  <a:pt x="619887" y="6334577"/>
                  <a:pt x="623354" y="6330446"/>
                </a:cubicBezTo>
                <a:cubicBezTo>
                  <a:pt x="626820" y="6326314"/>
                  <a:pt x="630932" y="6324248"/>
                  <a:pt x="635688" y="6324248"/>
                </a:cubicBezTo>
                <a:close/>
                <a:moveTo>
                  <a:pt x="808324" y="6316751"/>
                </a:moveTo>
                <a:lnTo>
                  <a:pt x="808324" y="6380961"/>
                </a:lnTo>
                <a:lnTo>
                  <a:pt x="819207" y="6380961"/>
                </a:lnTo>
                <a:lnTo>
                  <a:pt x="819207" y="6316751"/>
                </a:lnTo>
                <a:close/>
                <a:moveTo>
                  <a:pt x="674672" y="6316751"/>
                </a:moveTo>
                <a:lnTo>
                  <a:pt x="674672" y="6356535"/>
                </a:lnTo>
                <a:cubicBezTo>
                  <a:pt x="674672" y="6361170"/>
                  <a:pt x="674893" y="6364556"/>
                  <a:pt x="675337" y="6366692"/>
                </a:cubicBezTo>
                <a:cubicBezTo>
                  <a:pt x="675982" y="6369877"/>
                  <a:pt x="677100" y="6372567"/>
                  <a:pt x="678692" y="6374764"/>
                </a:cubicBezTo>
                <a:cubicBezTo>
                  <a:pt x="680284" y="6376961"/>
                  <a:pt x="682723" y="6378785"/>
                  <a:pt x="686008" y="6380236"/>
                </a:cubicBezTo>
                <a:cubicBezTo>
                  <a:pt x="689293" y="6381687"/>
                  <a:pt x="692830" y="6382412"/>
                  <a:pt x="696619" y="6382412"/>
                </a:cubicBezTo>
                <a:cubicBezTo>
                  <a:pt x="705205" y="6382412"/>
                  <a:pt x="711997" y="6378785"/>
                  <a:pt x="716995" y="6371529"/>
                </a:cubicBezTo>
                <a:lnTo>
                  <a:pt x="716995" y="6380961"/>
                </a:lnTo>
                <a:lnTo>
                  <a:pt x="726729" y="6380961"/>
                </a:lnTo>
                <a:lnTo>
                  <a:pt x="726729" y="6316751"/>
                </a:lnTo>
                <a:lnTo>
                  <a:pt x="715846" y="6316751"/>
                </a:lnTo>
                <a:lnTo>
                  <a:pt x="715846" y="6351154"/>
                </a:lnTo>
                <a:cubicBezTo>
                  <a:pt x="715846" y="6356636"/>
                  <a:pt x="715251" y="6360818"/>
                  <a:pt x="714062" y="6363700"/>
                </a:cubicBezTo>
                <a:cubicBezTo>
                  <a:pt x="712873" y="6366582"/>
                  <a:pt x="710848" y="6368859"/>
                  <a:pt x="707986" y="6370532"/>
                </a:cubicBezTo>
                <a:cubicBezTo>
                  <a:pt x="705124" y="6372204"/>
                  <a:pt x="702061" y="6373041"/>
                  <a:pt x="698796" y="6373041"/>
                </a:cubicBezTo>
                <a:cubicBezTo>
                  <a:pt x="695531" y="6373041"/>
                  <a:pt x="692790" y="6372225"/>
                  <a:pt x="690573" y="6370592"/>
                </a:cubicBezTo>
                <a:cubicBezTo>
                  <a:pt x="688356" y="6368960"/>
                  <a:pt x="686905" y="6366713"/>
                  <a:pt x="686220" y="6363851"/>
                </a:cubicBezTo>
                <a:cubicBezTo>
                  <a:pt x="685776" y="6361876"/>
                  <a:pt x="685555" y="6358046"/>
                  <a:pt x="685555" y="6352363"/>
                </a:cubicBezTo>
                <a:lnTo>
                  <a:pt x="685555" y="6316751"/>
                </a:lnTo>
                <a:close/>
                <a:moveTo>
                  <a:pt x="2210094" y="6315300"/>
                </a:moveTo>
                <a:cubicBezTo>
                  <a:pt x="2201186" y="6315300"/>
                  <a:pt x="2194374" y="6318827"/>
                  <a:pt x="2189659" y="6325881"/>
                </a:cubicBezTo>
                <a:lnTo>
                  <a:pt x="2189659" y="6316751"/>
                </a:lnTo>
                <a:lnTo>
                  <a:pt x="2179864" y="6316751"/>
                </a:lnTo>
                <a:lnTo>
                  <a:pt x="2179864" y="6380961"/>
                </a:lnTo>
                <a:lnTo>
                  <a:pt x="2190747" y="6380961"/>
                </a:lnTo>
                <a:lnTo>
                  <a:pt x="2190747" y="6345894"/>
                </a:lnTo>
                <a:cubicBezTo>
                  <a:pt x="2190747" y="6337671"/>
                  <a:pt x="2192430" y="6332088"/>
                  <a:pt x="2195795" y="6329146"/>
                </a:cubicBezTo>
                <a:cubicBezTo>
                  <a:pt x="2199161" y="6326203"/>
                  <a:pt x="2203161" y="6324732"/>
                  <a:pt x="2207797" y="6324732"/>
                </a:cubicBezTo>
                <a:cubicBezTo>
                  <a:pt x="2210699" y="6324732"/>
                  <a:pt x="2213228" y="6325387"/>
                  <a:pt x="2215385" y="6326697"/>
                </a:cubicBezTo>
                <a:cubicBezTo>
                  <a:pt x="2217541" y="6328007"/>
                  <a:pt x="2219043" y="6329761"/>
                  <a:pt x="2219889" y="6331957"/>
                </a:cubicBezTo>
                <a:cubicBezTo>
                  <a:pt x="2220735" y="6334154"/>
                  <a:pt x="2221159" y="6337469"/>
                  <a:pt x="2221159" y="6341903"/>
                </a:cubicBezTo>
                <a:lnTo>
                  <a:pt x="2221159" y="6380961"/>
                </a:lnTo>
                <a:lnTo>
                  <a:pt x="2232042" y="6380961"/>
                </a:lnTo>
                <a:lnTo>
                  <a:pt x="2232042" y="6341480"/>
                </a:lnTo>
                <a:cubicBezTo>
                  <a:pt x="2232042" y="6336441"/>
                  <a:pt x="2231840" y="6332915"/>
                  <a:pt x="2231437" y="6330899"/>
                </a:cubicBezTo>
                <a:cubicBezTo>
                  <a:pt x="2230792" y="6327796"/>
                  <a:pt x="2229664" y="6325115"/>
                  <a:pt x="2228052" y="6322858"/>
                </a:cubicBezTo>
                <a:cubicBezTo>
                  <a:pt x="2226439" y="6320601"/>
                  <a:pt x="2224011" y="6318777"/>
                  <a:pt x="2220766" y="6317386"/>
                </a:cubicBezTo>
                <a:cubicBezTo>
                  <a:pt x="2217521" y="6315995"/>
                  <a:pt x="2213964" y="6315300"/>
                  <a:pt x="2210094" y="6315300"/>
                </a:cubicBezTo>
                <a:close/>
                <a:moveTo>
                  <a:pt x="2140336" y="6315300"/>
                </a:moveTo>
                <a:cubicBezTo>
                  <a:pt x="2134814" y="6315300"/>
                  <a:pt x="2129957" y="6316056"/>
                  <a:pt x="2125765" y="6317567"/>
                </a:cubicBezTo>
                <a:cubicBezTo>
                  <a:pt x="2121573" y="6319079"/>
                  <a:pt x="2118368" y="6321235"/>
                  <a:pt x="2116151" y="6324037"/>
                </a:cubicBezTo>
                <a:cubicBezTo>
                  <a:pt x="2113934" y="6326838"/>
                  <a:pt x="2112342" y="6330516"/>
                  <a:pt x="2111375" y="6335071"/>
                </a:cubicBezTo>
                <a:lnTo>
                  <a:pt x="2122016" y="6336522"/>
                </a:lnTo>
                <a:cubicBezTo>
                  <a:pt x="2123185" y="6331967"/>
                  <a:pt x="2124989" y="6328793"/>
                  <a:pt x="2127427" y="6326999"/>
                </a:cubicBezTo>
                <a:cubicBezTo>
                  <a:pt x="2129866" y="6325206"/>
                  <a:pt x="2133645" y="6324309"/>
                  <a:pt x="2138764" y="6324309"/>
                </a:cubicBezTo>
                <a:cubicBezTo>
                  <a:pt x="2144246" y="6324309"/>
                  <a:pt x="2148377" y="6325538"/>
                  <a:pt x="2151159" y="6327997"/>
                </a:cubicBezTo>
                <a:cubicBezTo>
                  <a:pt x="2153214" y="6329811"/>
                  <a:pt x="2154242" y="6332935"/>
                  <a:pt x="2154242" y="6337369"/>
                </a:cubicBezTo>
                <a:cubicBezTo>
                  <a:pt x="2154242" y="6337772"/>
                  <a:pt x="2154222" y="6338719"/>
                  <a:pt x="2154182" y="6340210"/>
                </a:cubicBezTo>
                <a:cubicBezTo>
                  <a:pt x="2150030" y="6341661"/>
                  <a:pt x="2143560" y="6342911"/>
                  <a:pt x="2134773" y="6343959"/>
                </a:cubicBezTo>
                <a:cubicBezTo>
                  <a:pt x="2130460" y="6344483"/>
                  <a:pt x="2127236" y="6345027"/>
                  <a:pt x="2125100" y="6345591"/>
                </a:cubicBezTo>
                <a:cubicBezTo>
                  <a:pt x="2122197" y="6346397"/>
                  <a:pt x="2119587" y="6347587"/>
                  <a:pt x="2117270" y="6349159"/>
                </a:cubicBezTo>
                <a:cubicBezTo>
                  <a:pt x="2114952" y="6350731"/>
                  <a:pt x="2113078" y="6352816"/>
                  <a:pt x="2111647" y="6355416"/>
                </a:cubicBezTo>
                <a:cubicBezTo>
                  <a:pt x="2110216" y="6358016"/>
                  <a:pt x="2109500" y="6360888"/>
                  <a:pt x="2109500" y="6364032"/>
                </a:cubicBezTo>
                <a:cubicBezTo>
                  <a:pt x="2109500" y="6369393"/>
                  <a:pt x="2111395" y="6373797"/>
                  <a:pt x="2115184" y="6377243"/>
                </a:cubicBezTo>
                <a:cubicBezTo>
                  <a:pt x="2118973" y="6380689"/>
                  <a:pt x="2124394" y="6382412"/>
                  <a:pt x="2131448" y="6382412"/>
                </a:cubicBezTo>
                <a:cubicBezTo>
                  <a:pt x="2135721" y="6382412"/>
                  <a:pt x="2139721" y="6381707"/>
                  <a:pt x="2143450" y="6380296"/>
                </a:cubicBezTo>
                <a:cubicBezTo>
                  <a:pt x="2147178" y="6378885"/>
                  <a:pt x="2151058" y="6376467"/>
                  <a:pt x="2155089" y="6373041"/>
                </a:cubicBezTo>
                <a:cubicBezTo>
                  <a:pt x="2155411" y="6376064"/>
                  <a:pt x="2156136" y="6378704"/>
                  <a:pt x="2157265" y="6380961"/>
                </a:cubicBezTo>
                <a:lnTo>
                  <a:pt x="2168632" y="6380961"/>
                </a:lnTo>
                <a:cubicBezTo>
                  <a:pt x="2167261" y="6378502"/>
                  <a:pt x="2166344" y="6375933"/>
                  <a:pt x="2165881" y="6373252"/>
                </a:cubicBezTo>
                <a:cubicBezTo>
                  <a:pt x="2165417" y="6370572"/>
                  <a:pt x="2165185" y="6364173"/>
                  <a:pt x="2165185" y="6354056"/>
                </a:cubicBezTo>
                <a:lnTo>
                  <a:pt x="2165185" y="6339545"/>
                </a:lnTo>
                <a:cubicBezTo>
                  <a:pt x="2165185" y="6334708"/>
                  <a:pt x="2165004" y="6331363"/>
                  <a:pt x="2164641" y="6329509"/>
                </a:cubicBezTo>
                <a:cubicBezTo>
                  <a:pt x="2163996" y="6326526"/>
                  <a:pt x="2162868" y="6324057"/>
                  <a:pt x="2161255" y="6322102"/>
                </a:cubicBezTo>
                <a:cubicBezTo>
                  <a:pt x="2159643" y="6320147"/>
                  <a:pt x="2157124" y="6318525"/>
                  <a:pt x="2153698" y="6317235"/>
                </a:cubicBezTo>
                <a:cubicBezTo>
                  <a:pt x="2150272" y="6315945"/>
                  <a:pt x="2145818" y="6315300"/>
                  <a:pt x="2140336" y="6315300"/>
                </a:cubicBezTo>
                <a:close/>
                <a:moveTo>
                  <a:pt x="2076744" y="6315300"/>
                </a:moveTo>
                <a:cubicBezTo>
                  <a:pt x="2067836" y="6315300"/>
                  <a:pt x="2061024" y="6318827"/>
                  <a:pt x="2056309" y="6325881"/>
                </a:cubicBezTo>
                <a:lnTo>
                  <a:pt x="2056309" y="6316751"/>
                </a:lnTo>
                <a:lnTo>
                  <a:pt x="2046514" y="6316751"/>
                </a:lnTo>
                <a:lnTo>
                  <a:pt x="2046514" y="6380961"/>
                </a:lnTo>
                <a:lnTo>
                  <a:pt x="2057397" y="6380961"/>
                </a:lnTo>
                <a:lnTo>
                  <a:pt x="2057397" y="6345894"/>
                </a:lnTo>
                <a:cubicBezTo>
                  <a:pt x="2057397" y="6337671"/>
                  <a:pt x="2059079" y="6332088"/>
                  <a:pt x="2062445" y="6329146"/>
                </a:cubicBezTo>
                <a:cubicBezTo>
                  <a:pt x="2065811" y="6326203"/>
                  <a:pt x="2069811" y="6324732"/>
                  <a:pt x="2074447" y="6324732"/>
                </a:cubicBezTo>
                <a:cubicBezTo>
                  <a:pt x="2077349" y="6324732"/>
                  <a:pt x="2079878" y="6325387"/>
                  <a:pt x="2082035" y="6326697"/>
                </a:cubicBezTo>
                <a:cubicBezTo>
                  <a:pt x="2084191" y="6328007"/>
                  <a:pt x="2085692" y="6329761"/>
                  <a:pt x="2086539" y="6331957"/>
                </a:cubicBezTo>
                <a:cubicBezTo>
                  <a:pt x="2087385" y="6334154"/>
                  <a:pt x="2087809" y="6337469"/>
                  <a:pt x="2087809" y="6341903"/>
                </a:cubicBezTo>
                <a:lnTo>
                  <a:pt x="2087809" y="6380961"/>
                </a:lnTo>
                <a:lnTo>
                  <a:pt x="2098692" y="6380961"/>
                </a:lnTo>
                <a:lnTo>
                  <a:pt x="2098692" y="6341480"/>
                </a:lnTo>
                <a:cubicBezTo>
                  <a:pt x="2098692" y="6336441"/>
                  <a:pt x="2098490" y="6332915"/>
                  <a:pt x="2098087" y="6330899"/>
                </a:cubicBezTo>
                <a:cubicBezTo>
                  <a:pt x="2097442" y="6327796"/>
                  <a:pt x="2096314" y="6325115"/>
                  <a:pt x="2094702" y="6322858"/>
                </a:cubicBezTo>
                <a:cubicBezTo>
                  <a:pt x="2093089" y="6320601"/>
                  <a:pt x="2090661" y="6318777"/>
                  <a:pt x="2087416" y="6317386"/>
                </a:cubicBezTo>
                <a:cubicBezTo>
                  <a:pt x="2084171" y="6315995"/>
                  <a:pt x="2080614" y="6315300"/>
                  <a:pt x="2076744" y="6315300"/>
                </a:cubicBezTo>
                <a:close/>
                <a:moveTo>
                  <a:pt x="2010069" y="6315300"/>
                </a:moveTo>
                <a:cubicBezTo>
                  <a:pt x="2001161" y="6315300"/>
                  <a:pt x="1994349" y="6318827"/>
                  <a:pt x="1989633" y="6325881"/>
                </a:cubicBezTo>
                <a:lnTo>
                  <a:pt x="1989633" y="6316751"/>
                </a:lnTo>
                <a:lnTo>
                  <a:pt x="1979839" y="6316751"/>
                </a:lnTo>
                <a:lnTo>
                  <a:pt x="1979839" y="6380961"/>
                </a:lnTo>
                <a:lnTo>
                  <a:pt x="1990722" y="6380961"/>
                </a:lnTo>
                <a:lnTo>
                  <a:pt x="1990722" y="6345894"/>
                </a:lnTo>
                <a:cubicBezTo>
                  <a:pt x="1990722" y="6337671"/>
                  <a:pt x="1992405" y="6332088"/>
                  <a:pt x="1995770" y="6329146"/>
                </a:cubicBezTo>
                <a:cubicBezTo>
                  <a:pt x="1999136" y="6326203"/>
                  <a:pt x="2003136" y="6324732"/>
                  <a:pt x="2007772" y="6324732"/>
                </a:cubicBezTo>
                <a:cubicBezTo>
                  <a:pt x="2010674" y="6324732"/>
                  <a:pt x="2013203" y="6325387"/>
                  <a:pt x="2015360" y="6326697"/>
                </a:cubicBezTo>
                <a:cubicBezTo>
                  <a:pt x="2017516" y="6328007"/>
                  <a:pt x="2019018" y="6329761"/>
                  <a:pt x="2019864" y="6331957"/>
                </a:cubicBezTo>
                <a:cubicBezTo>
                  <a:pt x="2020710" y="6334154"/>
                  <a:pt x="2021134" y="6337469"/>
                  <a:pt x="2021134" y="6341903"/>
                </a:cubicBezTo>
                <a:lnTo>
                  <a:pt x="2021134" y="6380961"/>
                </a:lnTo>
                <a:lnTo>
                  <a:pt x="2032017" y="6380961"/>
                </a:lnTo>
                <a:lnTo>
                  <a:pt x="2032017" y="6341480"/>
                </a:lnTo>
                <a:cubicBezTo>
                  <a:pt x="2032017" y="6336441"/>
                  <a:pt x="2031815" y="6332915"/>
                  <a:pt x="2031412" y="6330899"/>
                </a:cubicBezTo>
                <a:cubicBezTo>
                  <a:pt x="2030767" y="6327796"/>
                  <a:pt x="2029639" y="6325115"/>
                  <a:pt x="2028026" y="6322858"/>
                </a:cubicBezTo>
                <a:cubicBezTo>
                  <a:pt x="2026414" y="6320601"/>
                  <a:pt x="2023985" y="6318777"/>
                  <a:pt x="2020741" y="6317386"/>
                </a:cubicBezTo>
                <a:cubicBezTo>
                  <a:pt x="2017496" y="6315995"/>
                  <a:pt x="2013939" y="6315300"/>
                  <a:pt x="2010069" y="6315300"/>
                </a:cubicBezTo>
                <a:close/>
                <a:moveTo>
                  <a:pt x="1939525" y="6315300"/>
                </a:moveTo>
                <a:cubicBezTo>
                  <a:pt x="1930657" y="6315300"/>
                  <a:pt x="1923442" y="6318283"/>
                  <a:pt x="1917880" y="6324248"/>
                </a:cubicBezTo>
                <a:cubicBezTo>
                  <a:pt x="1912317" y="6330214"/>
                  <a:pt x="1909536" y="6338598"/>
                  <a:pt x="1909536" y="6349400"/>
                </a:cubicBezTo>
                <a:cubicBezTo>
                  <a:pt x="1909536" y="6359840"/>
                  <a:pt x="1912287" y="6367952"/>
                  <a:pt x="1917789" y="6373736"/>
                </a:cubicBezTo>
                <a:cubicBezTo>
                  <a:pt x="1923291" y="6379520"/>
                  <a:pt x="1930738" y="6382412"/>
                  <a:pt x="1940129" y="6382412"/>
                </a:cubicBezTo>
                <a:cubicBezTo>
                  <a:pt x="1947586" y="6382412"/>
                  <a:pt x="1953713" y="6380598"/>
                  <a:pt x="1958510" y="6376971"/>
                </a:cubicBezTo>
                <a:cubicBezTo>
                  <a:pt x="1963306" y="6373343"/>
                  <a:pt x="1966591" y="6368244"/>
                  <a:pt x="1968365" y="6361674"/>
                </a:cubicBezTo>
                <a:lnTo>
                  <a:pt x="1957119" y="6360283"/>
                </a:lnTo>
                <a:cubicBezTo>
                  <a:pt x="1955466" y="6364879"/>
                  <a:pt x="1953229" y="6368224"/>
                  <a:pt x="1950408" y="6370320"/>
                </a:cubicBezTo>
                <a:cubicBezTo>
                  <a:pt x="1947586" y="6372416"/>
                  <a:pt x="1944180" y="6373464"/>
                  <a:pt x="1940190" y="6373464"/>
                </a:cubicBezTo>
                <a:cubicBezTo>
                  <a:pt x="1934829" y="6373464"/>
                  <a:pt x="1930355" y="6371590"/>
                  <a:pt x="1926767" y="6367841"/>
                </a:cubicBezTo>
                <a:cubicBezTo>
                  <a:pt x="1923180" y="6364093"/>
                  <a:pt x="1921185" y="6358691"/>
                  <a:pt x="1920782" y="6351637"/>
                </a:cubicBezTo>
                <a:lnTo>
                  <a:pt x="1968667" y="6351637"/>
                </a:lnTo>
                <a:cubicBezTo>
                  <a:pt x="1968707" y="6350348"/>
                  <a:pt x="1968728" y="6349380"/>
                  <a:pt x="1968728" y="6348735"/>
                </a:cubicBezTo>
                <a:cubicBezTo>
                  <a:pt x="1968728" y="6338134"/>
                  <a:pt x="1966007" y="6329912"/>
                  <a:pt x="1960565" y="6324067"/>
                </a:cubicBezTo>
                <a:cubicBezTo>
                  <a:pt x="1955124" y="6318222"/>
                  <a:pt x="1948110" y="6315300"/>
                  <a:pt x="1939525" y="6315300"/>
                </a:cubicBezTo>
                <a:close/>
                <a:moveTo>
                  <a:pt x="1805752" y="6315300"/>
                </a:moveTo>
                <a:cubicBezTo>
                  <a:pt x="1800230" y="6315300"/>
                  <a:pt x="1795120" y="6316600"/>
                  <a:pt x="1790425" y="6319200"/>
                </a:cubicBezTo>
                <a:cubicBezTo>
                  <a:pt x="1785729" y="6321800"/>
                  <a:pt x="1782232" y="6325700"/>
                  <a:pt x="1779935" y="6330899"/>
                </a:cubicBezTo>
                <a:cubicBezTo>
                  <a:pt x="1777637" y="6336099"/>
                  <a:pt x="1776488" y="6342165"/>
                  <a:pt x="1776488" y="6349098"/>
                </a:cubicBezTo>
                <a:cubicBezTo>
                  <a:pt x="1776488" y="6359820"/>
                  <a:pt x="1779159" y="6368053"/>
                  <a:pt x="1784499" y="6373797"/>
                </a:cubicBezTo>
                <a:cubicBezTo>
                  <a:pt x="1789840" y="6379540"/>
                  <a:pt x="1796904" y="6382412"/>
                  <a:pt x="1805691" y="6382412"/>
                </a:cubicBezTo>
                <a:cubicBezTo>
                  <a:pt x="1812705" y="6382412"/>
                  <a:pt x="1818620" y="6380326"/>
                  <a:pt x="1823437" y="6376155"/>
                </a:cubicBezTo>
                <a:cubicBezTo>
                  <a:pt x="1828253" y="6371983"/>
                  <a:pt x="1831246" y="6366209"/>
                  <a:pt x="1832415" y="6358832"/>
                </a:cubicBezTo>
                <a:lnTo>
                  <a:pt x="1821714" y="6357442"/>
                </a:lnTo>
                <a:cubicBezTo>
                  <a:pt x="1820948" y="6362883"/>
                  <a:pt x="1819134" y="6366914"/>
                  <a:pt x="1816272" y="6369534"/>
                </a:cubicBezTo>
                <a:cubicBezTo>
                  <a:pt x="1813410" y="6372154"/>
                  <a:pt x="1809843" y="6373464"/>
                  <a:pt x="1805570" y="6373464"/>
                </a:cubicBezTo>
                <a:cubicBezTo>
                  <a:pt x="1800250" y="6373464"/>
                  <a:pt x="1795937" y="6371509"/>
                  <a:pt x="1792632" y="6367599"/>
                </a:cubicBezTo>
                <a:cubicBezTo>
                  <a:pt x="1789326" y="6363689"/>
                  <a:pt x="1787674" y="6357422"/>
                  <a:pt x="1787674" y="6348796"/>
                </a:cubicBezTo>
                <a:cubicBezTo>
                  <a:pt x="1787674" y="6340291"/>
                  <a:pt x="1789387" y="6334073"/>
                  <a:pt x="1792813" y="6330143"/>
                </a:cubicBezTo>
                <a:cubicBezTo>
                  <a:pt x="1796239" y="6326213"/>
                  <a:pt x="1800693" y="6324248"/>
                  <a:pt x="1806175" y="6324248"/>
                </a:cubicBezTo>
                <a:cubicBezTo>
                  <a:pt x="1809803" y="6324248"/>
                  <a:pt x="1812896" y="6325337"/>
                  <a:pt x="1815456" y="6327513"/>
                </a:cubicBezTo>
                <a:cubicBezTo>
                  <a:pt x="1818015" y="6329690"/>
                  <a:pt x="1819799" y="6332935"/>
                  <a:pt x="1820806" y="6337248"/>
                </a:cubicBezTo>
                <a:lnTo>
                  <a:pt x="1831387" y="6335615"/>
                </a:lnTo>
                <a:cubicBezTo>
                  <a:pt x="1830138" y="6329126"/>
                  <a:pt x="1827296" y="6324117"/>
                  <a:pt x="1822862" y="6320591"/>
                </a:cubicBezTo>
                <a:cubicBezTo>
                  <a:pt x="1818428" y="6317064"/>
                  <a:pt x="1812725" y="6315300"/>
                  <a:pt x="1805752" y="6315300"/>
                </a:cubicBezTo>
                <a:close/>
                <a:moveTo>
                  <a:pt x="1515165" y="6315300"/>
                </a:moveTo>
                <a:cubicBezTo>
                  <a:pt x="1511819" y="6315300"/>
                  <a:pt x="1508685" y="6315733"/>
                  <a:pt x="1505763" y="6316600"/>
                </a:cubicBezTo>
                <a:cubicBezTo>
                  <a:pt x="1502840" y="6317467"/>
                  <a:pt x="1500533" y="6318525"/>
                  <a:pt x="1498840" y="6319774"/>
                </a:cubicBezTo>
                <a:cubicBezTo>
                  <a:pt x="1496583" y="6321387"/>
                  <a:pt x="1494799" y="6323412"/>
                  <a:pt x="1493489" y="6325851"/>
                </a:cubicBezTo>
                <a:cubicBezTo>
                  <a:pt x="1492179" y="6328289"/>
                  <a:pt x="1491524" y="6330939"/>
                  <a:pt x="1491524" y="6333801"/>
                </a:cubicBezTo>
                <a:cubicBezTo>
                  <a:pt x="1491524" y="6336945"/>
                  <a:pt x="1492320" y="6339817"/>
                  <a:pt x="1493913" y="6342417"/>
                </a:cubicBezTo>
                <a:cubicBezTo>
                  <a:pt x="1495505" y="6345017"/>
                  <a:pt x="1497843" y="6347052"/>
                  <a:pt x="1500926" y="6348524"/>
                </a:cubicBezTo>
                <a:cubicBezTo>
                  <a:pt x="1504009" y="6349995"/>
                  <a:pt x="1509542" y="6351738"/>
                  <a:pt x="1517523" y="6353754"/>
                </a:cubicBezTo>
                <a:cubicBezTo>
                  <a:pt x="1523448" y="6355245"/>
                  <a:pt x="1527156" y="6356474"/>
                  <a:pt x="1528648" y="6357442"/>
                </a:cubicBezTo>
                <a:cubicBezTo>
                  <a:pt x="1530784" y="6358853"/>
                  <a:pt x="1531852" y="6360787"/>
                  <a:pt x="1531852" y="6363246"/>
                </a:cubicBezTo>
                <a:cubicBezTo>
                  <a:pt x="1531852" y="6365987"/>
                  <a:pt x="1530643" y="6368375"/>
                  <a:pt x="1528224" y="6370411"/>
                </a:cubicBezTo>
                <a:cubicBezTo>
                  <a:pt x="1525806" y="6372446"/>
                  <a:pt x="1522097" y="6373464"/>
                  <a:pt x="1517100" y="6373464"/>
                </a:cubicBezTo>
                <a:cubicBezTo>
                  <a:pt x="1512141" y="6373464"/>
                  <a:pt x="1508282" y="6372315"/>
                  <a:pt x="1505521" y="6370018"/>
                </a:cubicBezTo>
                <a:cubicBezTo>
                  <a:pt x="1502760" y="6367720"/>
                  <a:pt x="1501077" y="6364415"/>
                  <a:pt x="1500472" y="6360102"/>
                </a:cubicBezTo>
                <a:lnTo>
                  <a:pt x="1489710" y="6361795"/>
                </a:lnTo>
                <a:cubicBezTo>
                  <a:pt x="1490920" y="6368607"/>
                  <a:pt x="1493711" y="6373746"/>
                  <a:pt x="1498084" y="6377213"/>
                </a:cubicBezTo>
                <a:cubicBezTo>
                  <a:pt x="1502458" y="6380679"/>
                  <a:pt x="1508816" y="6382412"/>
                  <a:pt x="1517160" y="6382412"/>
                </a:cubicBezTo>
                <a:cubicBezTo>
                  <a:pt x="1522198" y="6382412"/>
                  <a:pt x="1526713" y="6381536"/>
                  <a:pt x="1530703" y="6379782"/>
                </a:cubicBezTo>
                <a:cubicBezTo>
                  <a:pt x="1534694" y="6378029"/>
                  <a:pt x="1537747" y="6375550"/>
                  <a:pt x="1539863" y="6372345"/>
                </a:cubicBezTo>
                <a:cubicBezTo>
                  <a:pt x="1541979" y="6369141"/>
                  <a:pt x="1543037" y="6365725"/>
                  <a:pt x="1543037" y="6362097"/>
                </a:cubicBezTo>
                <a:cubicBezTo>
                  <a:pt x="1543037" y="6358389"/>
                  <a:pt x="1542171" y="6355285"/>
                  <a:pt x="1540437" y="6352786"/>
                </a:cubicBezTo>
                <a:cubicBezTo>
                  <a:pt x="1538704" y="6350287"/>
                  <a:pt x="1536316" y="6348383"/>
                  <a:pt x="1533273" y="6347073"/>
                </a:cubicBezTo>
                <a:cubicBezTo>
                  <a:pt x="1530230" y="6345763"/>
                  <a:pt x="1524859" y="6344080"/>
                  <a:pt x="1517160" y="6342024"/>
                </a:cubicBezTo>
                <a:cubicBezTo>
                  <a:pt x="1511839" y="6340573"/>
                  <a:pt x="1508635" y="6339646"/>
                  <a:pt x="1507547" y="6339243"/>
                </a:cubicBezTo>
                <a:cubicBezTo>
                  <a:pt x="1505652" y="6338477"/>
                  <a:pt x="1504261" y="6337510"/>
                  <a:pt x="1503375" y="6336341"/>
                </a:cubicBezTo>
                <a:cubicBezTo>
                  <a:pt x="1502488" y="6335212"/>
                  <a:pt x="1502044" y="6333942"/>
                  <a:pt x="1502044" y="6332532"/>
                </a:cubicBezTo>
                <a:cubicBezTo>
                  <a:pt x="1502044" y="6330315"/>
                  <a:pt x="1503113" y="6328380"/>
                  <a:pt x="1505249" y="6326727"/>
                </a:cubicBezTo>
                <a:cubicBezTo>
                  <a:pt x="1507385" y="6325075"/>
                  <a:pt x="1510953" y="6324248"/>
                  <a:pt x="1515951" y="6324248"/>
                </a:cubicBezTo>
                <a:cubicBezTo>
                  <a:pt x="1520183" y="6324248"/>
                  <a:pt x="1523458" y="6325176"/>
                  <a:pt x="1525776" y="6327030"/>
                </a:cubicBezTo>
                <a:cubicBezTo>
                  <a:pt x="1528093" y="6328884"/>
                  <a:pt x="1529494" y="6331463"/>
                  <a:pt x="1529978" y="6334769"/>
                </a:cubicBezTo>
                <a:lnTo>
                  <a:pt x="1540619" y="6333318"/>
                </a:lnTo>
                <a:cubicBezTo>
                  <a:pt x="1539934" y="6329166"/>
                  <a:pt x="1538684" y="6325851"/>
                  <a:pt x="1536870" y="6323372"/>
                </a:cubicBezTo>
                <a:cubicBezTo>
                  <a:pt x="1535056" y="6320893"/>
                  <a:pt x="1532245" y="6318928"/>
                  <a:pt x="1528436" y="6317477"/>
                </a:cubicBezTo>
                <a:cubicBezTo>
                  <a:pt x="1524627" y="6316026"/>
                  <a:pt x="1520203" y="6315300"/>
                  <a:pt x="1515165" y="6315300"/>
                </a:cubicBezTo>
                <a:close/>
                <a:moveTo>
                  <a:pt x="1479544" y="6315300"/>
                </a:moveTo>
                <a:cubicBezTo>
                  <a:pt x="1477004" y="6315300"/>
                  <a:pt x="1474676" y="6316026"/>
                  <a:pt x="1472560" y="6317477"/>
                </a:cubicBezTo>
                <a:cubicBezTo>
                  <a:pt x="1470444" y="6318928"/>
                  <a:pt x="1468136" y="6321931"/>
                  <a:pt x="1465638" y="6326486"/>
                </a:cubicBezTo>
                <a:lnTo>
                  <a:pt x="1465638" y="6316751"/>
                </a:lnTo>
                <a:lnTo>
                  <a:pt x="1455843" y="6316751"/>
                </a:lnTo>
                <a:lnTo>
                  <a:pt x="1455843" y="6380961"/>
                </a:lnTo>
                <a:lnTo>
                  <a:pt x="1466726" y="6380961"/>
                </a:lnTo>
                <a:lnTo>
                  <a:pt x="1466726" y="6347345"/>
                </a:lnTo>
                <a:cubicBezTo>
                  <a:pt x="1466726" y="6342750"/>
                  <a:pt x="1467330" y="6338517"/>
                  <a:pt x="1468540" y="6334648"/>
                </a:cubicBezTo>
                <a:cubicBezTo>
                  <a:pt x="1469346" y="6332108"/>
                  <a:pt x="1470696" y="6330123"/>
                  <a:pt x="1472590" y="6328692"/>
                </a:cubicBezTo>
                <a:cubicBezTo>
                  <a:pt x="1474485" y="6327261"/>
                  <a:pt x="1476621" y="6326546"/>
                  <a:pt x="1479000" y="6326546"/>
                </a:cubicBezTo>
                <a:cubicBezTo>
                  <a:pt x="1481660" y="6326546"/>
                  <a:pt x="1484320" y="6327332"/>
                  <a:pt x="1486980" y="6328904"/>
                </a:cubicBezTo>
                <a:lnTo>
                  <a:pt x="1490729" y="6318807"/>
                </a:lnTo>
                <a:cubicBezTo>
                  <a:pt x="1486940" y="6316469"/>
                  <a:pt x="1483212" y="6315300"/>
                  <a:pt x="1479544" y="6315300"/>
                </a:cubicBezTo>
                <a:close/>
                <a:moveTo>
                  <a:pt x="1416436" y="6315300"/>
                </a:moveTo>
                <a:cubicBezTo>
                  <a:pt x="1410914" y="6315300"/>
                  <a:pt x="1406057" y="6316056"/>
                  <a:pt x="1401865" y="6317567"/>
                </a:cubicBezTo>
                <a:cubicBezTo>
                  <a:pt x="1397673" y="6319079"/>
                  <a:pt x="1394468" y="6321235"/>
                  <a:pt x="1392251" y="6324037"/>
                </a:cubicBezTo>
                <a:cubicBezTo>
                  <a:pt x="1390034" y="6326838"/>
                  <a:pt x="1388442" y="6330516"/>
                  <a:pt x="1387475" y="6335071"/>
                </a:cubicBezTo>
                <a:lnTo>
                  <a:pt x="1398116" y="6336522"/>
                </a:lnTo>
                <a:cubicBezTo>
                  <a:pt x="1399285" y="6331967"/>
                  <a:pt x="1401089" y="6328793"/>
                  <a:pt x="1403527" y="6326999"/>
                </a:cubicBezTo>
                <a:cubicBezTo>
                  <a:pt x="1405966" y="6325206"/>
                  <a:pt x="1409745" y="6324309"/>
                  <a:pt x="1414864" y="6324309"/>
                </a:cubicBezTo>
                <a:cubicBezTo>
                  <a:pt x="1420345" y="6324309"/>
                  <a:pt x="1424477" y="6325538"/>
                  <a:pt x="1427258" y="6327997"/>
                </a:cubicBezTo>
                <a:cubicBezTo>
                  <a:pt x="1429314" y="6329811"/>
                  <a:pt x="1430342" y="6332935"/>
                  <a:pt x="1430342" y="6337369"/>
                </a:cubicBezTo>
                <a:cubicBezTo>
                  <a:pt x="1430342" y="6337772"/>
                  <a:pt x="1430322" y="6338719"/>
                  <a:pt x="1430281" y="6340210"/>
                </a:cubicBezTo>
                <a:cubicBezTo>
                  <a:pt x="1426130" y="6341661"/>
                  <a:pt x="1419660" y="6342911"/>
                  <a:pt x="1410873" y="6343959"/>
                </a:cubicBezTo>
                <a:cubicBezTo>
                  <a:pt x="1406561" y="6344483"/>
                  <a:pt x="1403336" y="6345027"/>
                  <a:pt x="1401199" y="6345591"/>
                </a:cubicBezTo>
                <a:cubicBezTo>
                  <a:pt x="1398297" y="6346397"/>
                  <a:pt x="1395687" y="6347587"/>
                  <a:pt x="1393370" y="6349159"/>
                </a:cubicBezTo>
                <a:cubicBezTo>
                  <a:pt x="1391052" y="6350731"/>
                  <a:pt x="1389178" y="6352816"/>
                  <a:pt x="1387747" y="6355416"/>
                </a:cubicBezTo>
                <a:cubicBezTo>
                  <a:pt x="1386316" y="6358016"/>
                  <a:pt x="1385600" y="6360888"/>
                  <a:pt x="1385600" y="6364032"/>
                </a:cubicBezTo>
                <a:cubicBezTo>
                  <a:pt x="1385600" y="6369393"/>
                  <a:pt x="1387495" y="6373797"/>
                  <a:pt x="1391284" y="6377243"/>
                </a:cubicBezTo>
                <a:cubicBezTo>
                  <a:pt x="1395073" y="6380689"/>
                  <a:pt x="1400494" y="6382412"/>
                  <a:pt x="1407548" y="6382412"/>
                </a:cubicBezTo>
                <a:cubicBezTo>
                  <a:pt x="1411821" y="6382412"/>
                  <a:pt x="1415821" y="6381707"/>
                  <a:pt x="1419550" y="6380296"/>
                </a:cubicBezTo>
                <a:cubicBezTo>
                  <a:pt x="1423278" y="6378885"/>
                  <a:pt x="1427158" y="6376467"/>
                  <a:pt x="1431188" y="6373041"/>
                </a:cubicBezTo>
                <a:cubicBezTo>
                  <a:pt x="1431511" y="6376064"/>
                  <a:pt x="1432236" y="6378704"/>
                  <a:pt x="1433365" y="6380961"/>
                </a:cubicBezTo>
                <a:lnTo>
                  <a:pt x="1444732" y="6380961"/>
                </a:lnTo>
                <a:cubicBezTo>
                  <a:pt x="1443361" y="6378502"/>
                  <a:pt x="1442444" y="6375933"/>
                  <a:pt x="1441981" y="6373252"/>
                </a:cubicBezTo>
                <a:cubicBezTo>
                  <a:pt x="1441517" y="6370572"/>
                  <a:pt x="1441285" y="6364173"/>
                  <a:pt x="1441285" y="6354056"/>
                </a:cubicBezTo>
                <a:lnTo>
                  <a:pt x="1441285" y="6339545"/>
                </a:lnTo>
                <a:cubicBezTo>
                  <a:pt x="1441285" y="6334708"/>
                  <a:pt x="1441104" y="6331363"/>
                  <a:pt x="1440741" y="6329509"/>
                </a:cubicBezTo>
                <a:cubicBezTo>
                  <a:pt x="1440096" y="6326526"/>
                  <a:pt x="1438968" y="6324057"/>
                  <a:pt x="1437355" y="6322102"/>
                </a:cubicBezTo>
                <a:cubicBezTo>
                  <a:pt x="1435743" y="6320147"/>
                  <a:pt x="1433224" y="6318525"/>
                  <a:pt x="1429798" y="6317235"/>
                </a:cubicBezTo>
                <a:cubicBezTo>
                  <a:pt x="1426372" y="6315945"/>
                  <a:pt x="1421917" y="6315300"/>
                  <a:pt x="1416436" y="6315300"/>
                </a:cubicBezTo>
                <a:close/>
                <a:moveTo>
                  <a:pt x="1167698" y="6315300"/>
                </a:moveTo>
                <a:cubicBezTo>
                  <a:pt x="1159757" y="6315300"/>
                  <a:pt x="1153026" y="6317678"/>
                  <a:pt x="1147503" y="6322435"/>
                </a:cubicBezTo>
                <a:cubicBezTo>
                  <a:pt x="1140893" y="6328158"/>
                  <a:pt x="1137588" y="6336965"/>
                  <a:pt x="1137588" y="6348856"/>
                </a:cubicBezTo>
                <a:cubicBezTo>
                  <a:pt x="1137588" y="6359699"/>
                  <a:pt x="1140359" y="6368002"/>
                  <a:pt x="1145901" y="6373766"/>
                </a:cubicBezTo>
                <a:cubicBezTo>
                  <a:pt x="1151443" y="6379530"/>
                  <a:pt x="1158709" y="6382412"/>
                  <a:pt x="1167698" y="6382412"/>
                </a:cubicBezTo>
                <a:cubicBezTo>
                  <a:pt x="1173300" y="6382412"/>
                  <a:pt x="1178470" y="6381102"/>
                  <a:pt x="1183206" y="6378482"/>
                </a:cubicBezTo>
                <a:cubicBezTo>
                  <a:pt x="1187942" y="6375862"/>
                  <a:pt x="1191550" y="6372184"/>
                  <a:pt x="1194028" y="6367448"/>
                </a:cubicBezTo>
                <a:cubicBezTo>
                  <a:pt x="1196507" y="6362712"/>
                  <a:pt x="1197747" y="6356212"/>
                  <a:pt x="1197747" y="6347949"/>
                </a:cubicBezTo>
                <a:cubicBezTo>
                  <a:pt x="1197747" y="6337751"/>
                  <a:pt x="1194945" y="6329761"/>
                  <a:pt x="1189343" y="6323976"/>
                </a:cubicBezTo>
                <a:cubicBezTo>
                  <a:pt x="1183740" y="6318192"/>
                  <a:pt x="1176525" y="6315300"/>
                  <a:pt x="1167698" y="6315300"/>
                </a:cubicBezTo>
                <a:close/>
                <a:moveTo>
                  <a:pt x="1057965" y="6315300"/>
                </a:moveTo>
                <a:cubicBezTo>
                  <a:pt x="1054619" y="6315300"/>
                  <a:pt x="1051485" y="6315733"/>
                  <a:pt x="1048563" y="6316600"/>
                </a:cubicBezTo>
                <a:cubicBezTo>
                  <a:pt x="1045641" y="6317467"/>
                  <a:pt x="1043333" y="6318525"/>
                  <a:pt x="1041640" y="6319774"/>
                </a:cubicBezTo>
                <a:cubicBezTo>
                  <a:pt x="1039383" y="6321387"/>
                  <a:pt x="1037599" y="6323412"/>
                  <a:pt x="1036289" y="6325851"/>
                </a:cubicBezTo>
                <a:cubicBezTo>
                  <a:pt x="1034979" y="6328289"/>
                  <a:pt x="1034324" y="6330939"/>
                  <a:pt x="1034324" y="6333801"/>
                </a:cubicBezTo>
                <a:cubicBezTo>
                  <a:pt x="1034324" y="6336945"/>
                  <a:pt x="1035120" y="6339817"/>
                  <a:pt x="1036712" y="6342417"/>
                </a:cubicBezTo>
                <a:cubicBezTo>
                  <a:pt x="1038304" y="6345017"/>
                  <a:pt x="1040642" y="6347052"/>
                  <a:pt x="1043726" y="6348524"/>
                </a:cubicBezTo>
                <a:cubicBezTo>
                  <a:pt x="1046809" y="6349995"/>
                  <a:pt x="1052342" y="6351738"/>
                  <a:pt x="1060323" y="6353754"/>
                </a:cubicBezTo>
                <a:cubicBezTo>
                  <a:pt x="1066248" y="6355245"/>
                  <a:pt x="1069956" y="6356474"/>
                  <a:pt x="1071447" y="6357442"/>
                </a:cubicBezTo>
                <a:cubicBezTo>
                  <a:pt x="1073584" y="6358853"/>
                  <a:pt x="1074652" y="6360787"/>
                  <a:pt x="1074652" y="6363246"/>
                </a:cubicBezTo>
                <a:cubicBezTo>
                  <a:pt x="1074652" y="6365987"/>
                  <a:pt x="1073443" y="6368375"/>
                  <a:pt x="1071024" y="6370411"/>
                </a:cubicBezTo>
                <a:cubicBezTo>
                  <a:pt x="1068606" y="6372446"/>
                  <a:pt x="1064898" y="6373464"/>
                  <a:pt x="1059899" y="6373464"/>
                </a:cubicBezTo>
                <a:cubicBezTo>
                  <a:pt x="1054942" y="6373464"/>
                  <a:pt x="1051082" y="6372315"/>
                  <a:pt x="1048321" y="6370018"/>
                </a:cubicBezTo>
                <a:cubicBezTo>
                  <a:pt x="1045560" y="6367720"/>
                  <a:pt x="1043877" y="6364415"/>
                  <a:pt x="1043272" y="6360102"/>
                </a:cubicBezTo>
                <a:lnTo>
                  <a:pt x="1032510" y="6361795"/>
                </a:lnTo>
                <a:cubicBezTo>
                  <a:pt x="1033720" y="6368607"/>
                  <a:pt x="1036511" y="6373746"/>
                  <a:pt x="1040884" y="6377213"/>
                </a:cubicBezTo>
                <a:cubicBezTo>
                  <a:pt x="1045258" y="6380679"/>
                  <a:pt x="1051616" y="6382412"/>
                  <a:pt x="1059960" y="6382412"/>
                </a:cubicBezTo>
                <a:cubicBezTo>
                  <a:pt x="1064998" y="6382412"/>
                  <a:pt x="1069513" y="6381536"/>
                  <a:pt x="1073503" y="6379782"/>
                </a:cubicBezTo>
                <a:cubicBezTo>
                  <a:pt x="1077494" y="6378029"/>
                  <a:pt x="1080547" y="6375550"/>
                  <a:pt x="1082663" y="6372345"/>
                </a:cubicBezTo>
                <a:cubicBezTo>
                  <a:pt x="1084779" y="6369141"/>
                  <a:pt x="1085837" y="6365725"/>
                  <a:pt x="1085837" y="6362097"/>
                </a:cubicBezTo>
                <a:cubicBezTo>
                  <a:pt x="1085837" y="6358389"/>
                  <a:pt x="1084971" y="6355285"/>
                  <a:pt x="1083237" y="6352786"/>
                </a:cubicBezTo>
                <a:cubicBezTo>
                  <a:pt x="1081504" y="6350287"/>
                  <a:pt x="1079116" y="6348383"/>
                  <a:pt x="1076073" y="6347073"/>
                </a:cubicBezTo>
                <a:cubicBezTo>
                  <a:pt x="1073030" y="6345763"/>
                  <a:pt x="1067659" y="6344080"/>
                  <a:pt x="1059960" y="6342024"/>
                </a:cubicBezTo>
                <a:cubicBezTo>
                  <a:pt x="1054639" y="6340573"/>
                  <a:pt x="1051435" y="6339646"/>
                  <a:pt x="1050346" y="6339243"/>
                </a:cubicBezTo>
                <a:cubicBezTo>
                  <a:pt x="1048452" y="6338477"/>
                  <a:pt x="1047061" y="6337510"/>
                  <a:pt x="1046175" y="6336341"/>
                </a:cubicBezTo>
                <a:cubicBezTo>
                  <a:pt x="1045288" y="6335212"/>
                  <a:pt x="1044844" y="6333942"/>
                  <a:pt x="1044844" y="6332532"/>
                </a:cubicBezTo>
                <a:cubicBezTo>
                  <a:pt x="1044844" y="6330315"/>
                  <a:pt x="1045913" y="6328380"/>
                  <a:pt x="1048049" y="6326727"/>
                </a:cubicBezTo>
                <a:cubicBezTo>
                  <a:pt x="1050185" y="6325075"/>
                  <a:pt x="1053753" y="6324248"/>
                  <a:pt x="1058751" y="6324248"/>
                </a:cubicBezTo>
                <a:cubicBezTo>
                  <a:pt x="1062983" y="6324248"/>
                  <a:pt x="1066258" y="6325176"/>
                  <a:pt x="1068576" y="6327030"/>
                </a:cubicBezTo>
                <a:cubicBezTo>
                  <a:pt x="1070893" y="6328884"/>
                  <a:pt x="1072294" y="6331463"/>
                  <a:pt x="1072778" y="6334769"/>
                </a:cubicBezTo>
                <a:lnTo>
                  <a:pt x="1083419" y="6333318"/>
                </a:lnTo>
                <a:cubicBezTo>
                  <a:pt x="1082734" y="6329166"/>
                  <a:pt x="1081484" y="6325851"/>
                  <a:pt x="1079670" y="6323372"/>
                </a:cubicBezTo>
                <a:cubicBezTo>
                  <a:pt x="1077856" y="6320893"/>
                  <a:pt x="1075045" y="6318928"/>
                  <a:pt x="1071236" y="6317477"/>
                </a:cubicBezTo>
                <a:cubicBezTo>
                  <a:pt x="1067427" y="6316026"/>
                  <a:pt x="1063003" y="6315300"/>
                  <a:pt x="1057965" y="6315300"/>
                </a:cubicBezTo>
                <a:close/>
                <a:moveTo>
                  <a:pt x="991290" y="6315300"/>
                </a:moveTo>
                <a:cubicBezTo>
                  <a:pt x="987944" y="6315300"/>
                  <a:pt x="984810" y="6315733"/>
                  <a:pt x="981888" y="6316600"/>
                </a:cubicBezTo>
                <a:cubicBezTo>
                  <a:pt x="978965" y="6317467"/>
                  <a:pt x="976658" y="6318525"/>
                  <a:pt x="974965" y="6319774"/>
                </a:cubicBezTo>
                <a:cubicBezTo>
                  <a:pt x="972708" y="6321387"/>
                  <a:pt x="970924" y="6323412"/>
                  <a:pt x="969614" y="6325851"/>
                </a:cubicBezTo>
                <a:cubicBezTo>
                  <a:pt x="968304" y="6328289"/>
                  <a:pt x="967649" y="6330939"/>
                  <a:pt x="967649" y="6333801"/>
                </a:cubicBezTo>
                <a:cubicBezTo>
                  <a:pt x="967649" y="6336945"/>
                  <a:pt x="968445" y="6339817"/>
                  <a:pt x="970037" y="6342417"/>
                </a:cubicBezTo>
                <a:cubicBezTo>
                  <a:pt x="971630" y="6345017"/>
                  <a:pt x="973967" y="6347052"/>
                  <a:pt x="977051" y="6348524"/>
                </a:cubicBezTo>
                <a:cubicBezTo>
                  <a:pt x="980134" y="6349995"/>
                  <a:pt x="985667" y="6351738"/>
                  <a:pt x="993648" y="6353754"/>
                </a:cubicBezTo>
                <a:cubicBezTo>
                  <a:pt x="999573" y="6355245"/>
                  <a:pt x="1003281" y="6356474"/>
                  <a:pt x="1004772" y="6357442"/>
                </a:cubicBezTo>
                <a:cubicBezTo>
                  <a:pt x="1006909" y="6358853"/>
                  <a:pt x="1007977" y="6360787"/>
                  <a:pt x="1007977" y="6363246"/>
                </a:cubicBezTo>
                <a:cubicBezTo>
                  <a:pt x="1007977" y="6365987"/>
                  <a:pt x="1006768" y="6368375"/>
                  <a:pt x="1004349" y="6370411"/>
                </a:cubicBezTo>
                <a:cubicBezTo>
                  <a:pt x="1001931" y="6372446"/>
                  <a:pt x="998222" y="6373464"/>
                  <a:pt x="993224" y="6373464"/>
                </a:cubicBezTo>
                <a:cubicBezTo>
                  <a:pt x="988266" y="6373464"/>
                  <a:pt x="984407" y="6372315"/>
                  <a:pt x="981646" y="6370018"/>
                </a:cubicBezTo>
                <a:cubicBezTo>
                  <a:pt x="978885" y="6367720"/>
                  <a:pt x="977202" y="6364415"/>
                  <a:pt x="976598" y="6360102"/>
                </a:cubicBezTo>
                <a:lnTo>
                  <a:pt x="965835" y="6361795"/>
                </a:lnTo>
                <a:cubicBezTo>
                  <a:pt x="967044" y="6368607"/>
                  <a:pt x="969836" y="6373746"/>
                  <a:pt x="974209" y="6377213"/>
                </a:cubicBezTo>
                <a:cubicBezTo>
                  <a:pt x="978583" y="6380679"/>
                  <a:pt x="984941" y="6382412"/>
                  <a:pt x="993285" y="6382412"/>
                </a:cubicBezTo>
                <a:cubicBezTo>
                  <a:pt x="998323" y="6382412"/>
                  <a:pt x="1002838" y="6381536"/>
                  <a:pt x="1006828" y="6379782"/>
                </a:cubicBezTo>
                <a:cubicBezTo>
                  <a:pt x="1010819" y="6378029"/>
                  <a:pt x="1013872" y="6375550"/>
                  <a:pt x="1015988" y="6372345"/>
                </a:cubicBezTo>
                <a:cubicBezTo>
                  <a:pt x="1018104" y="6369141"/>
                  <a:pt x="1019162" y="6365725"/>
                  <a:pt x="1019162" y="6362097"/>
                </a:cubicBezTo>
                <a:cubicBezTo>
                  <a:pt x="1019162" y="6358389"/>
                  <a:pt x="1018296" y="6355285"/>
                  <a:pt x="1016562" y="6352786"/>
                </a:cubicBezTo>
                <a:cubicBezTo>
                  <a:pt x="1014829" y="6350287"/>
                  <a:pt x="1012441" y="6348383"/>
                  <a:pt x="1009398" y="6347073"/>
                </a:cubicBezTo>
                <a:cubicBezTo>
                  <a:pt x="1006354" y="6345763"/>
                  <a:pt x="1000984" y="6344080"/>
                  <a:pt x="993285" y="6342024"/>
                </a:cubicBezTo>
                <a:cubicBezTo>
                  <a:pt x="987964" y="6340573"/>
                  <a:pt x="984760" y="6339646"/>
                  <a:pt x="983671" y="6339243"/>
                </a:cubicBezTo>
                <a:cubicBezTo>
                  <a:pt x="981777" y="6338477"/>
                  <a:pt x="980386" y="6337510"/>
                  <a:pt x="979500" y="6336341"/>
                </a:cubicBezTo>
                <a:cubicBezTo>
                  <a:pt x="978613" y="6335212"/>
                  <a:pt x="978170" y="6333942"/>
                  <a:pt x="978170" y="6332532"/>
                </a:cubicBezTo>
                <a:cubicBezTo>
                  <a:pt x="978170" y="6330315"/>
                  <a:pt x="979238" y="6328380"/>
                  <a:pt x="981374" y="6326727"/>
                </a:cubicBezTo>
                <a:cubicBezTo>
                  <a:pt x="983510" y="6325075"/>
                  <a:pt x="987077" y="6324248"/>
                  <a:pt x="992076" y="6324248"/>
                </a:cubicBezTo>
                <a:cubicBezTo>
                  <a:pt x="996308" y="6324248"/>
                  <a:pt x="999583" y="6325176"/>
                  <a:pt x="1001900" y="6327030"/>
                </a:cubicBezTo>
                <a:cubicBezTo>
                  <a:pt x="1004218" y="6328884"/>
                  <a:pt x="1005619" y="6331463"/>
                  <a:pt x="1006103" y="6334769"/>
                </a:cubicBezTo>
                <a:lnTo>
                  <a:pt x="1016744" y="6333318"/>
                </a:lnTo>
                <a:cubicBezTo>
                  <a:pt x="1016059" y="6329166"/>
                  <a:pt x="1014809" y="6325851"/>
                  <a:pt x="1012995" y="6323372"/>
                </a:cubicBezTo>
                <a:cubicBezTo>
                  <a:pt x="1011181" y="6320893"/>
                  <a:pt x="1008370" y="6318928"/>
                  <a:pt x="1004561" y="6317477"/>
                </a:cubicBezTo>
                <a:cubicBezTo>
                  <a:pt x="1000752" y="6316026"/>
                  <a:pt x="996328" y="6315300"/>
                  <a:pt x="991290" y="6315300"/>
                </a:cubicBezTo>
                <a:close/>
                <a:moveTo>
                  <a:pt x="929875" y="6315300"/>
                </a:moveTo>
                <a:cubicBezTo>
                  <a:pt x="921007" y="6315300"/>
                  <a:pt x="913792" y="6318283"/>
                  <a:pt x="908229" y="6324248"/>
                </a:cubicBezTo>
                <a:cubicBezTo>
                  <a:pt x="902667" y="6330214"/>
                  <a:pt x="899886" y="6338598"/>
                  <a:pt x="899886" y="6349400"/>
                </a:cubicBezTo>
                <a:cubicBezTo>
                  <a:pt x="899886" y="6359840"/>
                  <a:pt x="902637" y="6367952"/>
                  <a:pt x="908139" y="6373736"/>
                </a:cubicBezTo>
                <a:cubicBezTo>
                  <a:pt x="913641" y="6379520"/>
                  <a:pt x="921088" y="6382412"/>
                  <a:pt x="930479" y="6382412"/>
                </a:cubicBezTo>
                <a:cubicBezTo>
                  <a:pt x="937936" y="6382412"/>
                  <a:pt x="944063" y="6380598"/>
                  <a:pt x="948860" y="6376971"/>
                </a:cubicBezTo>
                <a:cubicBezTo>
                  <a:pt x="953656" y="6373343"/>
                  <a:pt x="956941" y="6368244"/>
                  <a:pt x="958715" y="6361674"/>
                </a:cubicBezTo>
                <a:lnTo>
                  <a:pt x="947469" y="6360283"/>
                </a:lnTo>
                <a:cubicBezTo>
                  <a:pt x="945816" y="6364879"/>
                  <a:pt x="943579" y="6368224"/>
                  <a:pt x="940758" y="6370320"/>
                </a:cubicBezTo>
                <a:cubicBezTo>
                  <a:pt x="937936" y="6372416"/>
                  <a:pt x="934530" y="6373464"/>
                  <a:pt x="930540" y="6373464"/>
                </a:cubicBezTo>
                <a:cubicBezTo>
                  <a:pt x="925179" y="6373464"/>
                  <a:pt x="920705" y="6371590"/>
                  <a:pt x="917117" y="6367841"/>
                </a:cubicBezTo>
                <a:cubicBezTo>
                  <a:pt x="913530" y="6364093"/>
                  <a:pt x="911535" y="6358691"/>
                  <a:pt x="911132" y="6351637"/>
                </a:cubicBezTo>
                <a:lnTo>
                  <a:pt x="959017" y="6351637"/>
                </a:lnTo>
                <a:cubicBezTo>
                  <a:pt x="959057" y="6350348"/>
                  <a:pt x="959078" y="6349380"/>
                  <a:pt x="959078" y="6348735"/>
                </a:cubicBezTo>
                <a:cubicBezTo>
                  <a:pt x="959078" y="6338134"/>
                  <a:pt x="956357" y="6329912"/>
                  <a:pt x="950915" y="6324067"/>
                </a:cubicBezTo>
                <a:cubicBezTo>
                  <a:pt x="945474" y="6318222"/>
                  <a:pt x="938460" y="6315300"/>
                  <a:pt x="929875" y="6315300"/>
                </a:cubicBezTo>
                <a:close/>
                <a:moveTo>
                  <a:pt x="867069" y="6315300"/>
                </a:moveTo>
                <a:cubicBezTo>
                  <a:pt x="858161" y="6315300"/>
                  <a:pt x="851349" y="6318827"/>
                  <a:pt x="846633" y="6325881"/>
                </a:cubicBezTo>
                <a:lnTo>
                  <a:pt x="846633" y="6316751"/>
                </a:lnTo>
                <a:lnTo>
                  <a:pt x="836839" y="6316751"/>
                </a:lnTo>
                <a:lnTo>
                  <a:pt x="836839" y="6380961"/>
                </a:lnTo>
                <a:lnTo>
                  <a:pt x="847722" y="6380961"/>
                </a:lnTo>
                <a:lnTo>
                  <a:pt x="847722" y="6345894"/>
                </a:lnTo>
                <a:cubicBezTo>
                  <a:pt x="847722" y="6337671"/>
                  <a:pt x="849405" y="6332088"/>
                  <a:pt x="852770" y="6329146"/>
                </a:cubicBezTo>
                <a:cubicBezTo>
                  <a:pt x="856136" y="6326203"/>
                  <a:pt x="860136" y="6324732"/>
                  <a:pt x="864772" y="6324732"/>
                </a:cubicBezTo>
                <a:cubicBezTo>
                  <a:pt x="867674" y="6324732"/>
                  <a:pt x="870203" y="6325387"/>
                  <a:pt x="872360" y="6326697"/>
                </a:cubicBezTo>
                <a:cubicBezTo>
                  <a:pt x="874516" y="6328007"/>
                  <a:pt x="876018" y="6329761"/>
                  <a:pt x="876864" y="6331957"/>
                </a:cubicBezTo>
                <a:cubicBezTo>
                  <a:pt x="877710" y="6334154"/>
                  <a:pt x="878134" y="6337469"/>
                  <a:pt x="878134" y="6341903"/>
                </a:cubicBezTo>
                <a:lnTo>
                  <a:pt x="878134" y="6380961"/>
                </a:lnTo>
                <a:lnTo>
                  <a:pt x="889017" y="6380961"/>
                </a:lnTo>
                <a:lnTo>
                  <a:pt x="889017" y="6341480"/>
                </a:lnTo>
                <a:cubicBezTo>
                  <a:pt x="889017" y="6336441"/>
                  <a:pt x="888815" y="6332915"/>
                  <a:pt x="888412" y="6330899"/>
                </a:cubicBezTo>
                <a:cubicBezTo>
                  <a:pt x="887767" y="6327796"/>
                  <a:pt x="886639" y="6325115"/>
                  <a:pt x="885026" y="6322858"/>
                </a:cubicBezTo>
                <a:cubicBezTo>
                  <a:pt x="883414" y="6320601"/>
                  <a:pt x="880985" y="6318777"/>
                  <a:pt x="877741" y="6317386"/>
                </a:cubicBezTo>
                <a:cubicBezTo>
                  <a:pt x="874496" y="6315995"/>
                  <a:pt x="870939" y="6315300"/>
                  <a:pt x="867069" y="6315300"/>
                </a:cubicBezTo>
                <a:close/>
                <a:moveTo>
                  <a:pt x="762690" y="6315300"/>
                </a:moveTo>
                <a:cubicBezTo>
                  <a:pt x="759344" y="6315300"/>
                  <a:pt x="756210" y="6315733"/>
                  <a:pt x="753288" y="6316600"/>
                </a:cubicBezTo>
                <a:cubicBezTo>
                  <a:pt x="750366" y="6317467"/>
                  <a:pt x="748058" y="6318525"/>
                  <a:pt x="746365" y="6319774"/>
                </a:cubicBezTo>
                <a:cubicBezTo>
                  <a:pt x="744108" y="6321387"/>
                  <a:pt x="742324" y="6323412"/>
                  <a:pt x="741014" y="6325851"/>
                </a:cubicBezTo>
                <a:cubicBezTo>
                  <a:pt x="739704" y="6328289"/>
                  <a:pt x="739049" y="6330939"/>
                  <a:pt x="739049" y="6333801"/>
                </a:cubicBezTo>
                <a:cubicBezTo>
                  <a:pt x="739049" y="6336945"/>
                  <a:pt x="739845" y="6339817"/>
                  <a:pt x="741437" y="6342417"/>
                </a:cubicBezTo>
                <a:cubicBezTo>
                  <a:pt x="743030" y="6345017"/>
                  <a:pt x="745367" y="6347052"/>
                  <a:pt x="748451" y="6348524"/>
                </a:cubicBezTo>
                <a:cubicBezTo>
                  <a:pt x="751534" y="6349995"/>
                  <a:pt x="757067" y="6351738"/>
                  <a:pt x="765048" y="6353754"/>
                </a:cubicBezTo>
                <a:cubicBezTo>
                  <a:pt x="770973" y="6355245"/>
                  <a:pt x="774681" y="6356474"/>
                  <a:pt x="776172" y="6357442"/>
                </a:cubicBezTo>
                <a:cubicBezTo>
                  <a:pt x="778309" y="6358853"/>
                  <a:pt x="779377" y="6360787"/>
                  <a:pt x="779377" y="6363246"/>
                </a:cubicBezTo>
                <a:cubicBezTo>
                  <a:pt x="779377" y="6365987"/>
                  <a:pt x="778168" y="6368375"/>
                  <a:pt x="775749" y="6370411"/>
                </a:cubicBezTo>
                <a:cubicBezTo>
                  <a:pt x="773331" y="6372446"/>
                  <a:pt x="769623" y="6373464"/>
                  <a:pt x="764624" y="6373464"/>
                </a:cubicBezTo>
                <a:cubicBezTo>
                  <a:pt x="759666" y="6373464"/>
                  <a:pt x="755807" y="6372315"/>
                  <a:pt x="753046" y="6370018"/>
                </a:cubicBezTo>
                <a:cubicBezTo>
                  <a:pt x="750285" y="6367720"/>
                  <a:pt x="748602" y="6364415"/>
                  <a:pt x="747997" y="6360102"/>
                </a:cubicBezTo>
                <a:lnTo>
                  <a:pt x="737235" y="6361795"/>
                </a:lnTo>
                <a:cubicBezTo>
                  <a:pt x="738445" y="6368607"/>
                  <a:pt x="741236" y="6373746"/>
                  <a:pt x="745609" y="6377213"/>
                </a:cubicBezTo>
                <a:cubicBezTo>
                  <a:pt x="749983" y="6380679"/>
                  <a:pt x="756341" y="6382412"/>
                  <a:pt x="764685" y="6382412"/>
                </a:cubicBezTo>
                <a:cubicBezTo>
                  <a:pt x="769723" y="6382412"/>
                  <a:pt x="774238" y="6381536"/>
                  <a:pt x="778228" y="6379782"/>
                </a:cubicBezTo>
                <a:cubicBezTo>
                  <a:pt x="782219" y="6378029"/>
                  <a:pt x="785272" y="6375550"/>
                  <a:pt x="787388" y="6372345"/>
                </a:cubicBezTo>
                <a:cubicBezTo>
                  <a:pt x="789504" y="6369141"/>
                  <a:pt x="790562" y="6365725"/>
                  <a:pt x="790562" y="6362097"/>
                </a:cubicBezTo>
                <a:cubicBezTo>
                  <a:pt x="790562" y="6358389"/>
                  <a:pt x="789696" y="6355285"/>
                  <a:pt x="787962" y="6352786"/>
                </a:cubicBezTo>
                <a:cubicBezTo>
                  <a:pt x="786229" y="6350287"/>
                  <a:pt x="783841" y="6348383"/>
                  <a:pt x="780798" y="6347073"/>
                </a:cubicBezTo>
                <a:cubicBezTo>
                  <a:pt x="777754" y="6345763"/>
                  <a:pt x="772383" y="6344080"/>
                  <a:pt x="764685" y="6342024"/>
                </a:cubicBezTo>
                <a:cubicBezTo>
                  <a:pt x="759364" y="6340573"/>
                  <a:pt x="756160" y="6339646"/>
                  <a:pt x="755071" y="6339243"/>
                </a:cubicBezTo>
                <a:cubicBezTo>
                  <a:pt x="753177" y="6338477"/>
                  <a:pt x="751786" y="6337510"/>
                  <a:pt x="750900" y="6336341"/>
                </a:cubicBezTo>
                <a:cubicBezTo>
                  <a:pt x="750013" y="6335212"/>
                  <a:pt x="749569" y="6333942"/>
                  <a:pt x="749569" y="6332532"/>
                </a:cubicBezTo>
                <a:cubicBezTo>
                  <a:pt x="749569" y="6330315"/>
                  <a:pt x="750638" y="6328380"/>
                  <a:pt x="752774" y="6326727"/>
                </a:cubicBezTo>
                <a:cubicBezTo>
                  <a:pt x="754910" y="6325075"/>
                  <a:pt x="758477" y="6324248"/>
                  <a:pt x="763476" y="6324248"/>
                </a:cubicBezTo>
                <a:cubicBezTo>
                  <a:pt x="767708" y="6324248"/>
                  <a:pt x="770983" y="6325176"/>
                  <a:pt x="773301" y="6327030"/>
                </a:cubicBezTo>
                <a:cubicBezTo>
                  <a:pt x="775618" y="6328884"/>
                  <a:pt x="777019" y="6331463"/>
                  <a:pt x="777503" y="6334769"/>
                </a:cubicBezTo>
                <a:lnTo>
                  <a:pt x="788144" y="6333318"/>
                </a:lnTo>
                <a:cubicBezTo>
                  <a:pt x="787459" y="6329166"/>
                  <a:pt x="786209" y="6325851"/>
                  <a:pt x="784395" y="6323372"/>
                </a:cubicBezTo>
                <a:cubicBezTo>
                  <a:pt x="782581" y="6320893"/>
                  <a:pt x="779770" y="6318928"/>
                  <a:pt x="775961" y="6317477"/>
                </a:cubicBezTo>
                <a:cubicBezTo>
                  <a:pt x="772152" y="6316026"/>
                  <a:pt x="767728" y="6315300"/>
                  <a:pt x="762690" y="6315300"/>
                </a:cubicBezTo>
                <a:close/>
                <a:moveTo>
                  <a:pt x="525681" y="6301636"/>
                </a:moveTo>
                <a:cubicBezTo>
                  <a:pt x="527051" y="6306432"/>
                  <a:pt x="529147" y="6312559"/>
                  <a:pt x="531969" y="6320016"/>
                </a:cubicBezTo>
                <a:lnTo>
                  <a:pt x="541219" y="6344563"/>
                </a:lnTo>
                <a:lnTo>
                  <a:pt x="511170" y="6344563"/>
                </a:lnTo>
                <a:lnTo>
                  <a:pt x="520904" y="6318565"/>
                </a:lnTo>
                <a:cubicBezTo>
                  <a:pt x="522960" y="6312962"/>
                  <a:pt x="524552" y="6307319"/>
                  <a:pt x="525681" y="6301636"/>
                </a:cubicBezTo>
                <a:close/>
                <a:moveTo>
                  <a:pt x="1847396" y="6292325"/>
                </a:moveTo>
                <a:lnTo>
                  <a:pt x="1847396" y="6380961"/>
                </a:lnTo>
                <a:lnTo>
                  <a:pt x="1902778" y="6380961"/>
                </a:lnTo>
                <a:lnTo>
                  <a:pt x="1902778" y="6370501"/>
                </a:lnTo>
                <a:lnTo>
                  <a:pt x="1859125" y="6370501"/>
                </a:lnTo>
                <a:lnTo>
                  <a:pt x="1859125" y="6292325"/>
                </a:lnTo>
                <a:close/>
                <a:moveTo>
                  <a:pt x="1676067" y="6292325"/>
                </a:moveTo>
                <a:lnTo>
                  <a:pt x="1676067" y="6380961"/>
                </a:lnTo>
                <a:lnTo>
                  <a:pt x="1687373" y="6380961"/>
                </a:lnTo>
                <a:lnTo>
                  <a:pt x="1687373" y="6305505"/>
                </a:lnTo>
                <a:lnTo>
                  <a:pt x="1713008" y="6380961"/>
                </a:lnTo>
                <a:lnTo>
                  <a:pt x="1723589" y="6380961"/>
                </a:lnTo>
                <a:lnTo>
                  <a:pt x="1749346" y="6306775"/>
                </a:lnTo>
                <a:lnTo>
                  <a:pt x="1749346" y="6380961"/>
                </a:lnTo>
                <a:lnTo>
                  <a:pt x="1760652" y="6380961"/>
                </a:lnTo>
                <a:lnTo>
                  <a:pt x="1760652" y="6292325"/>
                </a:lnTo>
                <a:lnTo>
                  <a:pt x="1744872" y="6292325"/>
                </a:lnTo>
                <a:lnTo>
                  <a:pt x="1723650" y="6353995"/>
                </a:lnTo>
                <a:cubicBezTo>
                  <a:pt x="1721513" y="6360243"/>
                  <a:pt x="1719941" y="6364979"/>
                  <a:pt x="1718933" y="6368204"/>
                </a:cubicBezTo>
                <a:cubicBezTo>
                  <a:pt x="1718047" y="6365302"/>
                  <a:pt x="1716636" y="6360928"/>
                  <a:pt x="1714701" y="6355084"/>
                </a:cubicBezTo>
                <a:lnTo>
                  <a:pt x="1693721" y="6292325"/>
                </a:lnTo>
                <a:close/>
                <a:moveTo>
                  <a:pt x="1560739" y="6292325"/>
                </a:moveTo>
                <a:lnTo>
                  <a:pt x="1560739" y="6380961"/>
                </a:lnTo>
                <a:lnTo>
                  <a:pt x="1571622" y="6380961"/>
                </a:lnTo>
                <a:lnTo>
                  <a:pt x="1571622" y="6345833"/>
                </a:lnTo>
                <a:cubicBezTo>
                  <a:pt x="1571622" y="6340795"/>
                  <a:pt x="1572226" y="6336845"/>
                  <a:pt x="1573435" y="6333983"/>
                </a:cubicBezTo>
                <a:cubicBezTo>
                  <a:pt x="1574645" y="6331121"/>
                  <a:pt x="1576670" y="6328854"/>
                  <a:pt x="1579512" y="6327181"/>
                </a:cubicBezTo>
                <a:cubicBezTo>
                  <a:pt x="1582354" y="6325508"/>
                  <a:pt x="1585387" y="6324672"/>
                  <a:pt x="1588611" y="6324672"/>
                </a:cubicBezTo>
                <a:cubicBezTo>
                  <a:pt x="1592924" y="6324672"/>
                  <a:pt x="1596260" y="6325911"/>
                  <a:pt x="1598618" y="6328390"/>
                </a:cubicBezTo>
                <a:cubicBezTo>
                  <a:pt x="1600976" y="6330869"/>
                  <a:pt x="1602155" y="6334829"/>
                  <a:pt x="1602155" y="6340271"/>
                </a:cubicBezTo>
                <a:lnTo>
                  <a:pt x="1602155" y="6380961"/>
                </a:lnTo>
                <a:lnTo>
                  <a:pt x="1613038" y="6380961"/>
                </a:lnTo>
                <a:lnTo>
                  <a:pt x="1613038" y="6340271"/>
                </a:lnTo>
                <a:cubicBezTo>
                  <a:pt x="1613038" y="6333983"/>
                  <a:pt x="1612282" y="6329186"/>
                  <a:pt x="1610771" y="6325881"/>
                </a:cubicBezTo>
                <a:cubicBezTo>
                  <a:pt x="1609259" y="6322576"/>
                  <a:pt x="1606750" y="6319986"/>
                  <a:pt x="1603243" y="6318112"/>
                </a:cubicBezTo>
                <a:cubicBezTo>
                  <a:pt x="1599736" y="6316237"/>
                  <a:pt x="1595605" y="6315300"/>
                  <a:pt x="1590848" y="6315300"/>
                </a:cubicBezTo>
                <a:cubicBezTo>
                  <a:pt x="1583109" y="6315300"/>
                  <a:pt x="1576700" y="6318243"/>
                  <a:pt x="1571622" y="6324128"/>
                </a:cubicBezTo>
                <a:lnTo>
                  <a:pt x="1571622" y="6292325"/>
                </a:lnTo>
                <a:close/>
                <a:moveTo>
                  <a:pt x="1285542" y="6292325"/>
                </a:moveTo>
                <a:lnTo>
                  <a:pt x="1285542" y="6380961"/>
                </a:lnTo>
                <a:lnTo>
                  <a:pt x="1296848" y="6380961"/>
                </a:lnTo>
                <a:lnTo>
                  <a:pt x="1296848" y="6305505"/>
                </a:lnTo>
                <a:lnTo>
                  <a:pt x="1322484" y="6380961"/>
                </a:lnTo>
                <a:lnTo>
                  <a:pt x="1333064" y="6380961"/>
                </a:lnTo>
                <a:lnTo>
                  <a:pt x="1358821" y="6306775"/>
                </a:lnTo>
                <a:lnTo>
                  <a:pt x="1358821" y="6380961"/>
                </a:lnTo>
                <a:lnTo>
                  <a:pt x="1370127" y="6380961"/>
                </a:lnTo>
                <a:lnTo>
                  <a:pt x="1370127" y="6292325"/>
                </a:lnTo>
                <a:lnTo>
                  <a:pt x="1354347" y="6292325"/>
                </a:lnTo>
                <a:lnTo>
                  <a:pt x="1333125" y="6353995"/>
                </a:lnTo>
                <a:cubicBezTo>
                  <a:pt x="1330988" y="6360243"/>
                  <a:pt x="1329416" y="6364979"/>
                  <a:pt x="1328409" y="6368204"/>
                </a:cubicBezTo>
                <a:cubicBezTo>
                  <a:pt x="1327522" y="6365302"/>
                  <a:pt x="1326111" y="6360928"/>
                  <a:pt x="1324176" y="6355084"/>
                </a:cubicBezTo>
                <a:lnTo>
                  <a:pt x="1303196" y="6292325"/>
                </a:lnTo>
                <a:close/>
                <a:moveTo>
                  <a:pt x="808324" y="6292325"/>
                </a:moveTo>
                <a:lnTo>
                  <a:pt x="808324" y="6304840"/>
                </a:lnTo>
                <a:lnTo>
                  <a:pt x="819207" y="6304840"/>
                </a:lnTo>
                <a:lnTo>
                  <a:pt x="819207" y="6292325"/>
                </a:lnTo>
                <a:close/>
                <a:moveTo>
                  <a:pt x="608178" y="6292325"/>
                </a:moveTo>
                <a:lnTo>
                  <a:pt x="608178" y="6380961"/>
                </a:lnTo>
                <a:lnTo>
                  <a:pt x="618275" y="6380961"/>
                </a:lnTo>
                <a:lnTo>
                  <a:pt x="618275" y="6372920"/>
                </a:lnTo>
                <a:cubicBezTo>
                  <a:pt x="622588" y="6379248"/>
                  <a:pt x="628533" y="6382412"/>
                  <a:pt x="636111" y="6382412"/>
                </a:cubicBezTo>
                <a:cubicBezTo>
                  <a:pt x="643729" y="6382412"/>
                  <a:pt x="650259" y="6379409"/>
                  <a:pt x="655701" y="6373404"/>
                </a:cubicBezTo>
                <a:cubicBezTo>
                  <a:pt x="661142" y="6367398"/>
                  <a:pt x="663863" y="6358893"/>
                  <a:pt x="663863" y="6347889"/>
                </a:cubicBezTo>
                <a:cubicBezTo>
                  <a:pt x="663863" y="6343253"/>
                  <a:pt x="663218" y="6338900"/>
                  <a:pt x="661928" y="6334829"/>
                </a:cubicBezTo>
                <a:cubicBezTo>
                  <a:pt x="660638" y="6330758"/>
                  <a:pt x="658855" y="6327282"/>
                  <a:pt x="656577" y="6324400"/>
                </a:cubicBezTo>
                <a:cubicBezTo>
                  <a:pt x="654300" y="6321518"/>
                  <a:pt x="651398" y="6319281"/>
                  <a:pt x="647871" y="6317688"/>
                </a:cubicBezTo>
                <a:cubicBezTo>
                  <a:pt x="644344" y="6316096"/>
                  <a:pt x="640606" y="6315300"/>
                  <a:pt x="636655" y="6315300"/>
                </a:cubicBezTo>
                <a:cubicBezTo>
                  <a:pt x="629521" y="6315300"/>
                  <a:pt x="623656" y="6318182"/>
                  <a:pt x="619061" y="6323946"/>
                </a:cubicBezTo>
                <a:lnTo>
                  <a:pt x="619061" y="6292325"/>
                </a:lnTo>
                <a:close/>
                <a:moveTo>
                  <a:pt x="519635" y="6292325"/>
                </a:moveTo>
                <a:lnTo>
                  <a:pt x="485595" y="6380961"/>
                </a:lnTo>
                <a:lnTo>
                  <a:pt x="498050" y="6380961"/>
                </a:lnTo>
                <a:lnTo>
                  <a:pt x="507784" y="6354116"/>
                </a:lnTo>
                <a:lnTo>
                  <a:pt x="544847" y="6354116"/>
                </a:lnTo>
                <a:lnTo>
                  <a:pt x="555186" y="6380961"/>
                </a:lnTo>
                <a:lnTo>
                  <a:pt x="568548" y="6380961"/>
                </a:lnTo>
                <a:lnTo>
                  <a:pt x="532271" y="6292325"/>
                </a:lnTo>
                <a:close/>
                <a:moveTo>
                  <a:pt x="1228689" y="6290813"/>
                </a:moveTo>
                <a:cubicBezTo>
                  <a:pt x="1223933" y="6290813"/>
                  <a:pt x="1220235" y="6291690"/>
                  <a:pt x="1217594" y="6293443"/>
                </a:cubicBezTo>
                <a:cubicBezTo>
                  <a:pt x="1214954" y="6295197"/>
                  <a:pt x="1213110" y="6297484"/>
                  <a:pt x="1212062" y="6300306"/>
                </a:cubicBezTo>
                <a:cubicBezTo>
                  <a:pt x="1211296" y="6302402"/>
                  <a:pt x="1210914" y="6305606"/>
                  <a:pt x="1210914" y="6309919"/>
                </a:cubicBezTo>
                <a:lnTo>
                  <a:pt x="1210914" y="6316751"/>
                </a:lnTo>
                <a:lnTo>
                  <a:pt x="1201300" y="6316751"/>
                </a:lnTo>
                <a:lnTo>
                  <a:pt x="1201300" y="6325216"/>
                </a:lnTo>
                <a:lnTo>
                  <a:pt x="1210914" y="6325216"/>
                </a:lnTo>
                <a:lnTo>
                  <a:pt x="1210914" y="6380961"/>
                </a:lnTo>
                <a:lnTo>
                  <a:pt x="1221736" y="6380961"/>
                </a:lnTo>
                <a:lnTo>
                  <a:pt x="1221736" y="6325216"/>
                </a:lnTo>
                <a:lnTo>
                  <a:pt x="1234252" y="6325216"/>
                </a:lnTo>
                <a:lnTo>
                  <a:pt x="1234252" y="6316751"/>
                </a:lnTo>
                <a:lnTo>
                  <a:pt x="1221736" y="6316751"/>
                </a:lnTo>
                <a:lnTo>
                  <a:pt x="1221736" y="6310826"/>
                </a:lnTo>
                <a:cubicBezTo>
                  <a:pt x="1221736" y="6306956"/>
                  <a:pt x="1222421" y="6304316"/>
                  <a:pt x="1223792" y="6302906"/>
                </a:cubicBezTo>
                <a:cubicBezTo>
                  <a:pt x="1225162" y="6301495"/>
                  <a:pt x="1227500" y="6300789"/>
                  <a:pt x="1230805" y="6300789"/>
                </a:cubicBezTo>
                <a:cubicBezTo>
                  <a:pt x="1232820" y="6300789"/>
                  <a:pt x="1234957" y="6300991"/>
                  <a:pt x="1237214" y="6301394"/>
                </a:cubicBezTo>
                <a:lnTo>
                  <a:pt x="1238847" y="6291902"/>
                </a:lnTo>
                <a:cubicBezTo>
                  <a:pt x="1235138" y="6291176"/>
                  <a:pt x="1231753" y="6290813"/>
                  <a:pt x="1228689" y="6290813"/>
                </a:cubicBezTo>
                <a:close/>
                <a:moveTo>
                  <a:pt x="7175501" y="1"/>
                </a:moveTo>
                <a:lnTo>
                  <a:pt x="12191999" y="1"/>
                </a:lnTo>
                <a:lnTo>
                  <a:pt x="12191999" y="6858001"/>
                </a:lnTo>
                <a:lnTo>
                  <a:pt x="1" y="6858001"/>
                </a:lnTo>
                <a:lnTo>
                  <a:pt x="1" y="5752619"/>
                </a:lnTo>
                <a:lnTo>
                  <a:pt x="7175501" y="5752619"/>
                </a:lnTo>
                <a:close/>
                <a:moveTo>
                  <a:pt x="0" y="0"/>
                </a:moveTo>
                <a:lnTo>
                  <a:pt x="7175501" y="0"/>
                </a:lnTo>
                <a:lnTo>
                  <a:pt x="7175501" y="1"/>
                </a:lnTo>
                <a:lnTo>
                  <a:pt x="1" y="1"/>
                </a:lnTo>
                <a:lnTo>
                  <a:pt x="1" y="5752619"/>
                </a:lnTo>
                <a:lnTo>
                  <a:pt x="0" y="5752619"/>
                </a:lnTo>
                <a:close/>
              </a:path>
            </a:pathLst>
          </a:custGeom>
          <a:solidFill>
            <a:srgbClr val="F0F0F0"/>
          </a:solidFill>
        </p:spPr>
        <p:txBody>
          <a:bodyPr wrap="square">
            <a:no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1200">
                <a:solidFill>
                  <a:srgbClr val="FF0000"/>
                </a:solidFill>
              </a:defRPr>
            </a:lvl1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smtClean="0"/>
              <a:t>Click </a:t>
            </a:r>
            <a:r>
              <a:rPr lang="en-US" dirty="0"/>
              <a:t>on picture icon to insert picture. Reset </a:t>
            </a:r>
            <a:r>
              <a:rPr lang="en-US" dirty="0" smtClean="0"/>
              <a:t>layout.</a:t>
            </a:r>
            <a:endParaRPr lang="en-US" dirty="0"/>
          </a:p>
        </p:txBody>
      </p:sp>
      <p:sp>
        <p:nvSpPr>
          <p:cNvPr id="12"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baseline="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a:t>
            </a:r>
            <a:r>
              <a:rPr lang="en-US" dirty="0" smtClean="0"/>
              <a:t>. Click icon to add logo. Use “Crop” feature on “Format” tab to resize or reposition logo once added. </a:t>
            </a:r>
            <a:r>
              <a:rPr lang="en-US" sz="1000" dirty="0" smtClean="0">
                <a:ea typeface="Open Sans" panose="020B0606030504020204" pitchFamily="34" charset="0"/>
                <a:cs typeface="Arial" panose="020B0604020202020204" pitchFamily="34" charset="0"/>
              </a:rPr>
              <a:t>Give the logo equal visual weight as Marsh’s. </a:t>
            </a:r>
            <a:r>
              <a:rPr lang="en-US" dirty="0" smtClean="0"/>
              <a:t>Delete </a:t>
            </a:r>
            <a:r>
              <a:rPr lang="en-US" dirty="0"/>
              <a:t>box if not used.</a:t>
            </a:r>
          </a:p>
        </p:txBody>
      </p:sp>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5407177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5691"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609725"/>
            <a:ext cx="6485763" cy="1600200"/>
          </a:xfrm>
        </p:spPr>
        <p:txBody>
          <a:bodyPr vert="horz" anchor="b" anchorCtr="0"/>
          <a:lstStyle>
            <a:lvl1pPr>
              <a:lnSpc>
                <a:spcPct val="90000"/>
              </a:lnSpc>
              <a:defRPr lang="en-US" sz="4800" b="1" i="0" kern="1200" cap="none" baseline="0" dirty="0">
                <a:solidFill>
                  <a:schemeClr val="bg1"/>
                </a:solidFill>
                <a:latin typeface="Arial" panose="020B0604020202020204" pitchFamily="34" charset="0"/>
                <a:ea typeface="+mj-ea"/>
                <a:cs typeface="Arial" panose="020B0604020202020204" pitchFamily="34" charset="0"/>
              </a:defRPr>
            </a:lvl1pPr>
          </a:lstStyle>
          <a:p>
            <a:r>
              <a:rPr lang="en-US" dirty="0" smtClean="0"/>
              <a:t>This is a placeholder </a:t>
            </a:r>
            <a:br>
              <a:rPr lang="en-US" dirty="0" smtClean="0"/>
            </a:br>
            <a:r>
              <a:rPr lang="en-US" dirty="0" smtClean="0"/>
              <a:t>for main title</a:t>
            </a:r>
            <a:endParaRPr lang="en-US" dirty="0"/>
          </a:p>
        </p:txBody>
      </p:sp>
      <p:sp>
        <p:nvSpPr>
          <p:cNvPr id="3" name="Subtitle 2"/>
          <p:cNvSpPr>
            <a:spLocks noGrp="1"/>
          </p:cNvSpPr>
          <p:nvPr>
            <p:ph type="subTitle" idx="1" hasCustomPrompt="1"/>
          </p:nvPr>
        </p:nvSpPr>
        <p:spPr>
          <a:xfrm>
            <a:off x="462026" y="3405820"/>
            <a:ext cx="6447769" cy="807913"/>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9" name="Text Placeholder 3">
            <a:extLst>
              <a:ext uri="{FF2B5EF4-FFF2-40B4-BE49-F238E27FC236}">
                <a16:creationId xmlns:a16="http://schemas.microsoft.com/office/drawing/2014/main" id="{408D7265-22AD-444D-9DAE-694197297FA6}"/>
              </a:ext>
            </a:extLst>
          </p:cNvPr>
          <p:cNvSpPr>
            <a:spLocks noGrp="1"/>
          </p:cNvSpPr>
          <p:nvPr>
            <p:ph type="body" sz="half" idx="2" hasCustomPrompt="1"/>
          </p:nvPr>
        </p:nvSpPr>
        <p:spPr>
          <a:xfrm>
            <a:off x="485775" y="4429126"/>
            <a:ext cx="64484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pic>
        <p:nvPicPr>
          <p:cNvPr id="73" name="Graphic 12">
            <a:extLst>
              <a:ext uri="{FF2B5EF4-FFF2-40B4-BE49-F238E27FC236}">
                <a16:creationId xmlns:a16="http://schemas.microsoft.com/office/drawing/2014/main" id="{D426043B-0359-FC46-BCF1-DAFF274E7589}"/>
              </a:ext>
            </a:extLst>
          </p:cNvPr>
          <p:cNvPicPr>
            <a:picLocks noChangeAspect="1"/>
          </p:cNvPicPr>
          <p:nvPr userDrawn="1"/>
        </p:nvPicPr>
        <p:blipFill>
          <a:blip r:embed="rId6">
            <a:extLst>
              <a:ext uri="{96DAC541-7B7A-43D3-8B79-37D633B846F1}">
                <asvg:svgBlip xmlns="" xmlns:asvg="http://schemas.microsoft.com/office/drawing/2016/SVG/main" r:embed="rId7"/>
              </a:ext>
            </a:extLst>
          </a:blip>
          <a:stretch>
            <a:fillRect/>
          </a:stretch>
        </p:blipFill>
        <p:spPr>
          <a:xfrm>
            <a:off x="486803" y="341762"/>
            <a:ext cx="1623974" cy="338328"/>
          </a:xfrm>
          <a:prstGeom prst="rect">
            <a:avLst/>
          </a:prstGeom>
        </p:spPr>
      </p:pic>
    </p:spTree>
    <p:extLst>
      <p:ext uri="{BB962C8B-B14F-4D97-AF65-F5344CB8AC3E}">
        <p14:creationId xmlns:p14="http://schemas.microsoft.com/office/powerpoint/2010/main" val="18878670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A: image light box">
    <p:bg>
      <p:bgPr>
        <a:solidFill>
          <a:schemeClr val="accent3"/>
        </a:solidFill>
        <a:effectLst/>
      </p:bgPr>
    </p:bg>
    <p:spTree>
      <p:nvGrpSpPr>
        <p:cNvPr id="1" name=""/>
        <p:cNvGrpSpPr/>
        <p:nvPr/>
      </p:nvGrpSpPr>
      <p:grpSpPr>
        <a:xfrm>
          <a:off x="0" y="0"/>
          <a:ext cx="0" cy="0"/>
          <a:chOff x="0" y="0"/>
          <a:chExt cx="0" cy="0"/>
        </a:xfrm>
      </p:grpSpPr>
      <p:sp>
        <p:nvSpPr>
          <p:cNvPr id="17" name="Rectangle 16"/>
          <p:cNvSpPr/>
          <p:nvPr userDrawn="1"/>
        </p:nvSpPr>
        <p:spPr>
          <a:xfrm>
            <a:off x="355599" y="6121400"/>
            <a:ext cx="2032001" cy="4953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 name="Picture Placeholder 17">
            <a:extLst>
              <a:ext uri="{FF2B5EF4-FFF2-40B4-BE49-F238E27FC236}">
                <a16:creationId xmlns:a16="http://schemas.microsoft.com/office/drawing/2014/main" id="{73319BE5-0EF3-DD4B-B826-A8E9F0755285}"/>
              </a:ext>
            </a:extLst>
          </p:cNvPr>
          <p:cNvSpPr>
            <a:spLocks noGrp="1"/>
          </p:cNvSpPr>
          <p:nvPr>
            <p:ph type="pic" sz="quarter" idx="10" hasCustomPrompt="1"/>
          </p:nvPr>
        </p:nvSpPr>
        <p:spPr>
          <a:xfrm>
            <a:off x="-1" y="-1"/>
            <a:ext cx="12191999" cy="6858001"/>
          </a:xfrm>
          <a:custGeom>
            <a:avLst/>
            <a:gdLst>
              <a:gd name="connsiteX0" fmla="*/ 2154182 w 12191999"/>
              <a:gd name="connsiteY0" fmla="*/ 6348735 h 6858001"/>
              <a:gd name="connsiteX1" fmla="*/ 2154182 w 12191999"/>
              <a:gd name="connsiteY1" fmla="*/ 6352726 h 6858001"/>
              <a:gd name="connsiteX2" fmla="*/ 2152428 w 12191999"/>
              <a:gd name="connsiteY2" fmla="*/ 6363609 h 6858001"/>
              <a:gd name="connsiteX3" fmla="*/ 2145233 w 12191999"/>
              <a:gd name="connsiteY3" fmla="*/ 6371136 h 6858001"/>
              <a:gd name="connsiteX4" fmla="*/ 2134048 w 12191999"/>
              <a:gd name="connsiteY4" fmla="*/ 6373887 h 6858001"/>
              <a:gd name="connsiteX5" fmla="*/ 2124404 w 12191999"/>
              <a:gd name="connsiteY5" fmla="*/ 6370985 h 6858001"/>
              <a:gd name="connsiteX6" fmla="*/ 2121109 w 12191999"/>
              <a:gd name="connsiteY6" fmla="*/ 6363730 h 6858001"/>
              <a:gd name="connsiteX7" fmla="*/ 2122621 w 12191999"/>
              <a:gd name="connsiteY7" fmla="*/ 6358560 h 6858001"/>
              <a:gd name="connsiteX8" fmla="*/ 2126913 w 12191999"/>
              <a:gd name="connsiteY8" fmla="*/ 6355023 h 6858001"/>
              <a:gd name="connsiteX9" fmla="*/ 2136406 w 12191999"/>
              <a:gd name="connsiteY9" fmla="*/ 6352847 h 6858001"/>
              <a:gd name="connsiteX10" fmla="*/ 2154182 w 12191999"/>
              <a:gd name="connsiteY10" fmla="*/ 6348735 h 6858001"/>
              <a:gd name="connsiteX11" fmla="*/ 1430281 w 12191999"/>
              <a:gd name="connsiteY11" fmla="*/ 6348735 h 6858001"/>
              <a:gd name="connsiteX12" fmla="*/ 1430281 w 12191999"/>
              <a:gd name="connsiteY12" fmla="*/ 6352726 h 6858001"/>
              <a:gd name="connsiteX13" fmla="*/ 1428528 w 12191999"/>
              <a:gd name="connsiteY13" fmla="*/ 6363609 h 6858001"/>
              <a:gd name="connsiteX14" fmla="*/ 1421333 w 12191999"/>
              <a:gd name="connsiteY14" fmla="*/ 6371136 h 6858001"/>
              <a:gd name="connsiteX15" fmla="*/ 1410148 w 12191999"/>
              <a:gd name="connsiteY15" fmla="*/ 6373887 h 6858001"/>
              <a:gd name="connsiteX16" fmla="*/ 1400504 w 12191999"/>
              <a:gd name="connsiteY16" fmla="*/ 6370985 h 6858001"/>
              <a:gd name="connsiteX17" fmla="*/ 1397209 w 12191999"/>
              <a:gd name="connsiteY17" fmla="*/ 6363730 h 6858001"/>
              <a:gd name="connsiteX18" fmla="*/ 1398721 w 12191999"/>
              <a:gd name="connsiteY18" fmla="*/ 6358560 h 6858001"/>
              <a:gd name="connsiteX19" fmla="*/ 1403013 w 12191999"/>
              <a:gd name="connsiteY19" fmla="*/ 6355023 h 6858001"/>
              <a:gd name="connsiteX20" fmla="*/ 1412506 w 12191999"/>
              <a:gd name="connsiteY20" fmla="*/ 6352847 h 6858001"/>
              <a:gd name="connsiteX21" fmla="*/ 1430281 w 12191999"/>
              <a:gd name="connsiteY21" fmla="*/ 6348735 h 6858001"/>
              <a:gd name="connsiteX22" fmla="*/ 1167698 w 12191999"/>
              <a:gd name="connsiteY22" fmla="*/ 6324309 h 6858001"/>
              <a:gd name="connsiteX23" fmla="*/ 1181150 w 12191999"/>
              <a:gd name="connsiteY23" fmla="*/ 6330446 h 6858001"/>
              <a:gd name="connsiteX24" fmla="*/ 1186561 w 12191999"/>
              <a:gd name="connsiteY24" fmla="*/ 6348493 h 6858001"/>
              <a:gd name="connsiteX25" fmla="*/ 1181180 w 12191999"/>
              <a:gd name="connsiteY25" fmla="*/ 6367297 h 6858001"/>
              <a:gd name="connsiteX26" fmla="*/ 1167698 w 12191999"/>
              <a:gd name="connsiteY26" fmla="*/ 6373464 h 6858001"/>
              <a:gd name="connsiteX27" fmla="*/ 1154154 w 12191999"/>
              <a:gd name="connsiteY27" fmla="*/ 6367327 h 6858001"/>
              <a:gd name="connsiteX28" fmla="*/ 1148773 w 12191999"/>
              <a:gd name="connsiteY28" fmla="*/ 6348856 h 6858001"/>
              <a:gd name="connsiteX29" fmla="*/ 1154154 w 12191999"/>
              <a:gd name="connsiteY29" fmla="*/ 6330415 h 6858001"/>
              <a:gd name="connsiteX30" fmla="*/ 1167698 w 12191999"/>
              <a:gd name="connsiteY30" fmla="*/ 6324309 h 6858001"/>
              <a:gd name="connsiteX31" fmla="*/ 1939646 w 12191999"/>
              <a:gd name="connsiteY31" fmla="*/ 6324248 h 6858001"/>
              <a:gd name="connsiteX32" fmla="*/ 1953129 w 12191999"/>
              <a:gd name="connsiteY32" fmla="*/ 6330536 h 6858001"/>
              <a:gd name="connsiteX33" fmla="*/ 1957240 w 12191999"/>
              <a:gd name="connsiteY33" fmla="*/ 6342689 h 6858001"/>
              <a:gd name="connsiteX34" fmla="*/ 1921387 w 12191999"/>
              <a:gd name="connsiteY34" fmla="*/ 6342689 h 6858001"/>
              <a:gd name="connsiteX35" fmla="*/ 1927040 w 12191999"/>
              <a:gd name="connsiteY35" fmla="*/ 6329267 h 6858001"/>
              <a:gd name="connsiteX36" fmla="*/ 1939646 w 12191999"/>
              <a:gd name="connsiteY36" fmla="*/ 6324248 h 6858001"/>
              <a:gd name="connsiteX37" fmla="*/ 929996 w 12191999"/>
              <a:gd name="connsiteY37" fmla="*/ 6324248 h 6858001"/>
              <a:gd name="connsiteX38" fmla="*/ 943479 w 12191999"/>
              <a:gd name="connsiteY38" fmla="*/ 6330536 h 6858001"/>
              <a:gd name="connsiteX39" fmla="*/ 947590 w 12191999"/>
              <a:gd name="connsiteY39" fmla="*/ 6342689 h 6858001"/>
              <a:gd name="connsiteX40" fmla="*/ 911736 w 12191999"/>
              <a:gd name="connsiteY40" fmla="*/ 6342689 h 6858001"/>
              <a:gd name="connsiteX41" fmla="*/ 917389 w 12191999"/>
              <a:gd name="connsiteY41" fmla="*/ 6329267 h 6858001"/>
              <a:gd name="connsiteX42" fmla="*/ 929996 w 12191999"/>
              <a:gd name="connsiteY42" fmla="*/ 6324248 h 6858001"/>
              <a:gd name="connsiteX43" fmla="*/ 635688 w 12191999"/>
              <a:gd name="connsiteY43" fmla="*/ 6324248 h 6858001"/>
              <a:gd name="connsiteX44" fmla="*/ 647750 w 12191999"/>
              <a:gd name="connsiteY44" fmla="*/ 6330234 h 6858001"/>
              <a:gd name="connsiteX45" fmla="*/ 652738 w 12191999"/>
              <a:gd name="connsiteY45" fmla="*/ 6348796 h 6858001"/>
              <a:gd name="connsiteX46" fmla="*/ 647538 w 12191999"/>
              <a:gd name="connsiteY46" fmla="*/ 6367267 h 6858001"/>
              <a:gd name="connsiteX47" fmla="*/ 635204 w 12191999"/>
              <a:gd name="connsiteY47" fmla="*/ 6373464 h 6858001"/>
              <a:gd name="connsiteX48" fmla="*/ 621298 w 12191999"/>
              <a:gd name="connsiteY48" fmla="*/ 6365060 h 6858001"/>
              <a:gd name="connsiteX49" fmla="*/ 618154 w 12191999"/>
              <a:gd name="connsiteY49" fmla="*/ 6348373 h 6858001"/>
              <a:gd name="connsiteX50" fmla="*/ 623354 w 12191999"/>
              <a:gd name="connsiteY50" fmla="*/ 6330446 h 6858001"/>
              <a:gd name="connsiteX51" fmla="*/ 635688 w 12191999"/>
              <a:gd name="connsiteY51" fmla="*/ 6324248 h 6858001"/>
              <a:gd name="connsiteX52" fmla="*/ 808324 w 12191999"/>
              <a:gd name="connsiteY52" fmla="*/ 6316751 h 6858001"/>
              <a:gd name="connsiteX53" fmla="*/ 808324 w 12191999"/>
              <a:gd name="connsiteY53" fmla="*/ 6380961 h 6858001"/>
              <a:gd name="connsiteX54" fmla="*/ 819207 w 12191999"/>
              <a:gd name="connsiteY54" fmla="*/ 6380961 h 6858001"/>
              <a:gd name="connsiteX55" fmla="*/ 819207 w 12191999"/>
              <a:gd name="connsiteY55" fmla="*/ 6316751 h 6858001"/>
              <a:gd name="connsiteX56" fmla="*/ 674672 w 12191999"/>
              <a:gd name="connsiteY56" fmla="*/ 6316751 h 6858001"/>
              <a:gd name="connsiteX57" fmla="*/ 674672 w 12191999"/>
              <a:gd name="connsiteY57" fmla="*/ 6356535 h 6858001"/>
              <a:gd name="connsiteX58" fmla="*/ 675337 w 12191999"/>
              <a:gd name="connsiteY58" fmla="*/ 6366692 h 6858001"/>
              <a:gd name="connsiteX59" fmla="*/ 678692 w 12191999"/>
              <a:gd name="connsiteY59" fmla="*/ 6374764 h 6858001"/>
              <a:gd name="connsiteX60" fmla="*/ 686008 w 12191999"/>
              <a:gd name="connsiteY60" fmla="*/ 6380236 h 6858001"/>
              <a:gd name="connsiteX61" fmla="*/ 696619 w 12191999"/>
              <a:gd name="connsiteY61" fmla="*/ 6382412 h 6858001"/>
              <a:gd name="connsiteX62" fmla="*/ 716995 w 12191999"/>
              <a:gd name="connsiteY62" fmla="*/ 6371529 h 6858001"/>
              <a:gd name="connsiteX63" fmla="*/ 716995 w 12191999"/>
              <a:gd name="connsiteY63" fmla="*/ 6380961 h 6858001"/>
              <a:gd name="connsiteX64" fmla="*/ 726729 w 12191999"/>
              <a:gd name="connsiteY64" fmla="*/ 6380961 h 6858001"/>
              <a:gd name="connsiteX65" fmla="*/ 726729 w 12191999"/>
              <a:gd name="connsiteY65" fmla="*/ 6316751 h 6858001"/>
              <a:gd name="connsiteX66" fmla="*/ 715846 w 12191999"/>
              <a:gd name="connsiteY66" fmla="*/ 6316751 h 6858001"/>
              <a:gd name="connsiteX67" fmla="*/ 715846 w 12191999"/>
              <a:gd name="connsiteY67" fmla="*/ 6351154 h 6858001"/>
              <a:gd name="connsiteX68" fmla="*/ 714062 w 12191999"/>
              <a:gd name="connsiteY68" fmla="*/ 6363700 h 6858001"/>
              <a:gd name="connsiteX69" fmla="*/ 707986 w 12191999"/>
              <a:gd name="connsiteY69" fmla="*/ 6370532 h 6858001"/>
              <a:gd name="connsiteX70" fmla="*/ 698796 w 12191999"/>
              <a:gd name="connsiteY70" fmla="*/ 6373041 h 6858001"/>
              <a:gd name="connsiteX71" fmla="*/ 690573 w 12191999"/>
              <a:gd name="connsiteY71" fmla="*/ 6370592 h 6858001"/>
              <a:gd name="connsiteX72" fmla="*/ 686220 w 12191999"/>
              <a:gd name="connsiteY72" fmla="*/ 6363851 h 6858001"/>
              <a:gd name="connsiteX73" fmla="*/ 685555 w 12191999"/>
              <a:gd name="connsiteY73" fmla="*/ 6352363 h 6858001"/>
              <a:gd name="connsiteX74" fmla="*/ 685555 w 12191999"/>
              <a:gd name="connsiteY74" fmla="*/ 6316751 h 6858001"/>
              <a:gd name="connsiteX75" fmla="*/ 2210094 w 12191999"/>
              <a:gd name="connsiteY75" fmla="*/ 6315300 h 6858001"/>
              <a:gd name="connsiteX76" fmla="*/ 2189659 w 12191999"/>
              <a:gd name="connsiteY76" fmla="*/ 6325881 h 6858001"/>
              <a:gd name="connsiteX77" fmla="*/ 2189659 w 12191999"/>
              <a:gd name="connsiteY77" fmla="*/ 6316751 h 6858001"/>
              <a:gd name="connsiteX78" fmla="*/ 2179864 w 12191999"/>
              <a:gd name="connsiteY78" fmla="*/ 6316751 h 6858001"/>
              <a:gd name="connsiteX79" fmla="*/ 2179864 w 12191999"/>
              <a:gd name="connsiteY79" fmla="*/ 6380961 h 6858001"/>
              <a:gd name="connsiteX80" fmla="*/ 2190747 w 12191999"/>
              <a:gd name="connsiteY80" fmla="*/ 6380961 h 6858001"/>
              <a:gd name="connsiteX81" fmla="*/ 2190747 w 12191999"/>
              <a:gd name="connsiteY81" fmla="*/ 6345894 h 6858001"/>
              <a:gd name="connsiteX82" fmla="*/ 2195795 w 12191999"/>
              <a:gd name="connsiteY82" fmla="*/ 6329146 h 6858001"/>
              <a:gd name="connsiteX83" fmla="*/ 2207797 w 12191999"/>
              <a:gd name="connsiteY83" fmla="*/ 6324732 h 6858001"/>
              <a:gd name="connsiteX84" fmla="*/ 2215385 w 12191999"/>
              <a:gd name="connsiteY84" fmla="*/ 6326697 h 6858001"/>
              <a:gd name="connsiteX85" fmla="*/ 2219889 w 12191999"/>
              <a:gd name="connsiteY85" fmla="*/ 6331957 h 6858001"/>
              <a:gd name="connsiteX86" fmla="*/ 2221159 w 12191999"/>
              <a:gd name="connsiteY86" fmla="*/ 6341903 h 6858001"/>
              <a:gd name="connsiteX87" fmla="*/ 2221159 w 12191999"/>
              <a:gd name="connsiteY87" fmla="*/ 6380961 h 6858001"/>
              <a:gd name="connsiteX88" fmla="*/ 2232042 w 12191999"/>
              <a:gd name="connsiteY88" fmla="*/ 6380961 h 6858001"/>
              <a:gd name="connsiteX89" fmla="*/ 2232042 w 12191999"/>
              <a:gd name="connsiteY89" fmla="*/ 6341480 h 6858001"/>
              <a:gd name="connsiteX90" fmla="*/ 2231437 w 12191999"/>
              <a:gd name="connsiteY90" fmla="*/ 6330899 h 6858001"/>
              <a:gd name="connsiteX91" fmla="*/ 2228052 w 12191999"/>
              <a:gd name="connsiteY91" fmla="*/ 6322858 h 6858001"/>
              <a:gd name="connsiteX92" fmla="*/ 2220766 w 12191999"/>
              <a:gd name="connsiteY92" fmla="*/ 6317386 h 6858001"/>
              <a:gd name="connsiteX93" fmla="*/ 2210094 w 12191999"/>
              <a:gd name="connsiteY93" fmla="*/ 6315300 h 6858001"/>
              <a:gd name="connsiteX94" fmla="*/ 2140336 w 12191999"/>
              <a:gd name="connsiteY94" fmla="*/ 6315300 h 6858001"/>
              <a:gd name="connsiteX95" fmla="*/ 2125765 w 12191999"/>
              <a:gd name="connsiteY95" fmla="*/ 6317567 h 6858001"/>
              <a:gd name="connsiteX96" fmla="*/ 2116151 w 12191999"/>
              <a:gd name="connsiteY96" fmla="*/ 6324037 h 6858001"/>
              <a:gd name="connsiteX97" fmla="*/ 2111375 w 12191999"/>
              <a:gd name="connsiteY97" fmla="*/ 6335071 h 6858001"/>
              <a:gd name="connsiteX98" fmla="*/ 2122016 w 12191999"/>
              <a:gd name="connsiteY98" fmla="*/ 6336522 h 6858001"/>
              <a:gd name="connsiteX99" fmla="*/ 2127427 w 12191999"/>
              <a:gd name="connsiteY99" fmla="*/ 6326999 h 6858001"/>
              <a:gd name="connsiteX100" fmla="*/ 2138764 w 12191999"/>
              <a:gd name="connsiteY100" fmla="*/ 6324309 h 6858001"/>
              <a:gd name="connsiteX101" fmla="*/ 2151159 w 12191999"/>
              <a:gd name="connsiteY101" fmla="*/ 6327997 h 6858001"/>
              <a:gd name="connsiteX102" fmla="*/ 2154242 w 12191999"/>
              <a:gd name="connsiteY102" fmla="*/ 6337369 h 6858001"/>
              <a:gd name="connsiteX103" fmla="*/ 2154182 w 12191999"/>
              <a:gd name="connsiteY103" fmla="*/ 6340210 h 6858001"/>
              <a:gd name="connsiteX104" fmla="*/ 2134773 w 12191999"/>
              <a:gd name="connsiteY104" fmla="*/ 6343959 h 6858001"/>
              <a:gd name="connsiteX105" fmla="*/ 2125100 w 12191999"/>
              <a:gd name="connsiteY105" fmla="*/ 6345591 h 6858001"/>
              <a:gd name="connsiteX106" fmla="*/ 2117270 w 12191999"/>
              <a:gd name="connsiteY106" fmla="*/ 6349159 h 6858001"/>
              <a:gd name="connsiteX107" fmla="*/ 2111647 w 12191999"/>
              <a:gd name="connsiteY107" fmla="*/ 6355416 h 6858001"/>
              <a:gd name="connsiteX108" fmla="*/ 2109500 w 12191999"/>
              <a:gd name="connsiteY108" fmla="*/ 6364032 h 6858001"/>
              <a:gd name="connsiteX109" fmla="*/ 2115184 w 12191999"/>
              <a:gd name="connsiteY109" fmla="*/ 6377243 h 6858001"/>
              <a:gd name="connsiteX110" fmla="*/ 2131448 w 12191999"/>
              <a:gd name="connsiteY110" fmla="*/ 6382412 h 6858001"/>
              <a:gd name="connsiteX111" fmla="*/ 2143450 w 12191999"/>
              <a:gd name="connsiteY111" fmla="*/ 6380296 h 6858001"/>
              <a:gd name="connsiteX112" fmla="*/ 2155089 w 12191999"/>
              <a:gd name="connsiteY112" fmla="*/ 6373041 h 6858001"/>
              <a:gd name="connsiteX113" fmla="*/ 2157265 w 12191999"/>
              <a:gd name="connsiteY113" fmla="*/ 6380961 h 6858001"/>
              <a:gd name="connsiteX114" fmla="*/ 2168632 w 12191999"/>
              <a:gd name="connsiteY114" fmla="*/ 6380961 h 6858001"/>
              <a:gd name="connsiteX115" fmla="*/ 2165881 w 12191999"/>
              <a:gd name="connsiteY115" fmla="*/ 6373252 h 6858001"/>
              <a:gd name="connsiteX116" fmla="*/ 2165185 w 12191999"/>
              <a:gd name="connsiteY116" fmla="*/ 6354056 h 6858001"/>
              <a:gd name="connsiteX117" fmla="*/ 2165185 w 12191999"/>
              <a:gd name="connsiteY117" fmla="*/ 6339545 h 6858001"/>
              <a:gd name="connsiteX118" fmla="*/ 2164641 w 12191999"/>
              <a:gd name="connsiteY118" fmla="*/ 6329509 h 6858001"/>
              <a:gd name="connsiteX119" fmla="*/ 2161255 w 12191999"/>
              <a:gd name="connsiteY119" fmla="*/ 6322102 h 6858001"/>
              <a:gd name="connsiteX120" fmla="*/ 2153698 w 12191999"/>
              <a:gd name="connsiteY120" fmla="*/ 6317235 h 6858001"/>
              <a:gd name="connsiteX121" fmla="*/ 2140336 w 12191999"/>
              <a:gd name="connsiteY121" fmla="*/ 6315300 h 6858001"/>
              <a:gd name="connsiteX122" fmla="*/ 2076744 w 12191999"/>
              <a:gd name="connsiteY122" fmla="*/ 6315300 h 6858001"/>
              <a:gd name="connsiteX123" fmla="*/ 2056309 w 12191999"/>
              <a:gd name="connsiteY123" fmla="*/ 6325881 h 6858001"/>
              <a:gd name="connsiteX124" fmla="*/ 2056309 w 12191999"/>
              <a:gd name="connsiteY124" fmla="*/ 6316751 h 6858001"/>
              <a:gd name="connsiteX125" fmla="*/ 2046514 w 12191999"/>
              <a:gd name="connsiteY125" fmla="*/ 6316751 h 6858001"/>
              <a:gd name="connsiteX126" fmla="*/ 2046514 w 12191999"/>
              <a:gd name="connsiteY126" fmla="*/ 6380961 h 6858001"/>
              <a:gd name="connsiteX127" fmla="*/ 2057397 w 12191999"/>
              <a:gd name="connsiteY127" fmla="*/ 6380961 h 6858001"/>
              <a:gd name="connsiteX128" fmla="*/ 2057397 w 12191999"/>
              <a:gd name="connsiteY128" fmla="*/ 6345894 h 6858001"/>
              <a:gd name="connsiteX129" fmla="*/ 2062445 w 12191999"/>
              <a:gd name="connsiteY129" fmla="*/ 6329146 h 6858001"/>
              <a:gd name="connsiteX130" fmla="*/ 2074447 w 12191999"/>
              <a:gd name="connsiteY130" fmla="*/ 6324732 h 6858001"/>
              <a:gd name="connsiteX131" fmla="*/ 2082035 w 12191999"/>
              <a:gd name="connsiteY131" fmla="*/ 6326697 h 6858001"/>
              <a:gd name="connsiteX132" fmla="*/ 2086539 w 12191999"/>
              <a:gd name="connsiteY132" fmla="*/ 6331957 h 6858001"/>
              <a:gd name="connsiteX133" fmla="*/ 2087809 w 12191999"/>
              <a:gd name="connsiteY133" fmla="*/ 6341903 h 6858001"/>
              <a:gd name="connsiteX134" fmla="*/ 2087809 w 12191999"/>
              <a:gd name="connsiteY134" fmla="*/ 6380961 h 6858001"/>
              <a:gd name="connsiteX135" fmla="*/ 2098692 w 12191999"/>
              <a:gd name="connsiteY135" fmla="*/ 6380961 h 6858001"/>
              <a:gd name="connsiteX136" fmla="*/ 2098692 w 12191999"/>
              <a:gd name="connsiteY136" fmla="*/ 6341480 h 6858001"/>
              <a:gd name="connsiteX137" fmla="*/ 2098087 w 12191999"/>
              <a:gd name="connsiteY137" fmla="*/ 6330899 h 6858001"/>
              <a:gd name="connsiteX138" fmla="*/ 2094702 w 12191999"/>
              <a:gd name="connsiteY138" fmla="*/ 6322858 h 6858001"/>
              <a:gd name="connsiteX139" fmla="*/ 2087416 w 12191999"/>
              <a:gd name="connsiteY139" fmla="*/ 6317386 h 6858001"/>
              <a:gd name="connsiteX140" fmla="*/ 2076744 w 12191999"/>
              <a:gd name="connsiteY140" fmla="*/ 6315300 h 6858001"/>
              <a:gd name="connsiteX141" fmla="*/ 2010069 w 12191999"/>
              <a:gd name="connsiteY141" fmla="*/ 6315300 h 6858001"/>
              <a:gd name="connsiteX142" fmla="*/ 1989633 w 12191999"/>
              <a:gd name="connsiteY142" fmla="*/ 6325881 h 6858001"/>
              <a:gd name="connsiteX143" fmla="*/ 1989633 w 12191999"/>
              <a:gd name="connsiteY143" fmla="*/ 6316751 h 6858001"/>
              <a:gd name="connsiteX144" fmla="*/ 1979839 w 12191999"/>
              <a:gd name="connsiteY144" fmla="*/ 6316751 h 6858001"/>
              <a:gd name="connsiteX145" fmla="*/ 1979839 w 12191999"/>
              <a:gd name="connsiteY145" fmla="*/ 6380961 h 6858001"/>
              <a:gd name="connsiteX146" fmla="*/ 1990722 w 12191999"/>
              <a:gd name="connsiteY146" fmla="*/ 6380961 h 6858001"/>
              <a:gd name="connsiteX147" fmla="*/ 1990722 w 12191999"/>
              <a:gd name="connsiteY147" fmla="*/ 6345894 h 6858001"/>
              <a:gd name="connsiteX148" fmla="*/ 1995770 w 12191999"/>
              <a:gd name="connsiteY148" fmla="*/ 6329146 h 6858001"/>
              <a:gd name="connsiteX149" fmla="*/ 2007772 w 12191999"/>
              <a:gd name="connsiteY149" fmla="*/ 6324732 h 6858001"/>
              <a:gd name="connsiteX150" fmla="*/ 2015360 w 12191999"/>
              <a:gd name="connsiteY150" fmla="*/ 6326697 h 6858001"/>
              <a:gd name="connsiteX151" fmla="*/ 2019864 w 12191999"/>
              <a:gd name="connsiteY151" fmla="*/ 6331957 h 6858001"/>
              <a:gd name="connsiteX152" fmla="*/ 2021134 w 12191999"/>
              <a:gd name="connsiteY152" fmla="*/ 6341903 h 6858001"/>
              <a:gd name="connsiteX153" fmla="*/ 2021134 w 12191999"/>
              <a:gd name="connsiteY153" fmla="*/ 6380961 h 6858001"/>
              <a:gd name="connsiteX154" fmla="*/ 2032017 w 12191999"/>
              <a:gd name="connsiteY154" fmla="*/ 6380961 h 6858001"/>
              <a:gd name="connsiteX155" fmla="*/ 2032017 w 12191999"/>
              <a:gd name="connsiteY155" fmla="*/ 6341480 h 6858001"/>
              <a:gd name="connsiteX156" fmla="*/ 2031412 w 12191999"/>
              <a:gd name="connsiteY156" fmla="*/ 6330899 h 6858001"/>
              <a:gd name="connsiteX157" fmla="*/ 2028026 w 12191999"/>
              <a:gd name="connsiteY157" fmla="*/ 6322858 h 6858001"/>
              <a:gd name="connsiteX158" fmla="*/ 2020741 w 12191999"/>
              <a:gd name="connsiteY158" fmla="*/ 6317386 h 6858001"/>
              <a:gd name="connsiteX159" fmla="*/ 2010069 w 12191999"/>
              <a:gd name="connsiteY159" fmla="*/ 6315300 h 6858001"/>
              <a:gd name="connsiteX160" fmla="*/ 1939525 w 12191999"/>
              <a:gd name="connsiteY160" fmla="*/ 6315300 h 6858001"/>
              <a:gd name="connsiteX161" fmla="*/ 1917880 w 12191999"/>
              <a:gd name="connsiteY161" fmla="*/ 6324248 h 6858001"/>
              <a:gd name="connsiteX162" fmla="*/ 1909536 w 12191999"/>
              <a:gd name="connsiteY162" fmla="*/ 6349400 h 6858001"/>
              <a:gd name="connsiteX163" fmla="*/ 1917789 w 12191999"/>
              <a:gd name="connsiteY163" fmla="*/ 6373736 h 6858001"/>
              <a:gd name="connsiteX164" fmla="*/ 1940129 w 12191999"/>
              <a:gd name="connsiteY164" fmla="*/ 6382412 h 6858001"/>
              <a:gd name="connsiteX165" fmla="*/ 1958510 w 12191999"/>
              <a:gd name="connsiteY165" fmla="*/ 6376971 h 6858001"/>
              <a:gd name="connsiteX166" fmla="*/ 1968365 w 12191999"/>
              <a:gd name="connsiteY166" fmla="*/ 6361674 h 6858001"/>
              <a:gd name="connsiteX167" fmla="*/ 1957119 w 12191999"/>
              <a:gd name="connsiteY167" fmla="*/ 6360283 h 6858001"/>
              <a:gd name="connsiteX168" fmla="*/ 1950408 w 12191999"/>
              <a:gd name="connsiteY168" fmla="*/ 6370320 h 6858001"/>
              <a:gd name="connsiteX169" fmla="*/ 1940190 w 12191999"/>
              <a:gd name="connsiteY169" fmla="*/ 6373464 h 6858001"/>
              <a:gd name="connsiteX170" fmla="*/ 1926767 w 12191999"/>
              <a:gd name="connsiteY170" fmla="*/ 6367841 h 6858001"/>
              <a:gd name="connsiteX171" fmla="*/ 1920782 w 12191999"/>
              <a:gd name="connsiteY171" fmla="*/ 6351637 h 6858001"/>
              <a:gd name="connsiteX172" fmla="*/ 1968667 w 12191999"/>
              <a:gd name="connsiteY172" fmla="*/ 6351637 h 6858001"/>
              <a:gd name="connsiteX173" fmla="*/ 1968728 w 12191999"/>
              <a:gd name="connsiteY173" fmla="*/ 6348735 h 6858001"/>
              <a:gd name="connsiteX174" fmla="*/ 1960565 w 12191999"/>
              <a:gd name="connsiteY174" fmla="*/ 6324067 h 6858001"/>
              <a:gd name="connsiteX175" fmla="*/ 1939525 w 12191999"/>
              <a:gd name="connsiteY175" fmla="*/ 6315300 h 6858001"/>
              <a:gd name="connsiteX176" fmla="*/ 1805752 w 12191999"/>
              <a:gd name="connsiteY176" fmla="*/ 6315300 h 6858001"/>
              <a:gd name="connsiteX177" fmla="*/ 1790425 w 12191999"/>
              <a:gd name="connsiteY177" fmla="*/ 6319200 h 6858001"/>
              <a:gd name="connsiteX178" fmla="*/ 1779935 w 12191999"/>
              <a:gd name="connsiteY178" fmla="*/ 6330899 h 6858001"/>
              <a:gd name="connsiteX179" fmla="*/ 1776488 w 12191999"/>
              <a:gd name="connsiteY179" fmla="*/ 6349098 h 6858001"/>
              <a:gd name="connsiteX180" fmla="*/ 1784499 w 12191999"/>
              <a:gd name="connsiteY180" fmla="*/ 6373797 h 6858001"/>
              <a:gd name="connsiteX181" fmla="*/ 1805691 w 12191999"/>
              <a:gd name="connsiteY181" fmla="*/ 6382412 h 6858001"/>
              <a:gd name="connsiteX182" fmla="*/ 1823437 w 12191999"/>
              <a:gd name="connsiteY182" fmla="*/ 6376155 h 6858001"/>
              <a:gd name="connsiteX183" fmla="*/ 1832415 w 12191999"/>
              <a:gd name="connsiteY183" fmla="*/ 6358832 h 6858001"/>
              <a:gd name="connsiteX184" fmla="*/ 1821714 w 12191999"/>
              <a:gd name="connsiteY184" fmla="*/ 6357442 h 6858001"/>
              <a:gd name="connsiteX185" fmla="*/ 1816272 w 12191999"/>
              <a:gd name="connsiteY185" fmla="*/ 6369534 h 6858001"/>
              <a:gd name="connsiteX186" fmla="*/ 1805570 w 12191999"/>
              <a:gd name="connsiteY186" fmla="*/ 6373464 h 6858001"/>
              <a:gd name="connsiteX187" fmla="*/ 1792632 w 12191999"/>
              <a:gd name="connsiteY187" fmla="*/ 6367599 h 6858001"/>
              <a:gd name="connsiteX188" fmla="*/ 1787674 w 12191999"/>
              <a:gd name="connsiteY188" fmla="*/ 6348796 h 6858001"/>
              <a:gd name="connsiteX189" fmla="*/ 1792813 w 12191999"/>
              <a:gd name="connsiteY189" fmla="*/ 6330143 h 6858001"/>
              <a:gd name="connsiteX190" fmla="*/ 1806175 w 12191999"/>
              <a:gd name="connsiteY190" fmla="*/ 6324248 h 6858001"/>
              <a:gd name="connsiteX191" fmla="*/ 1815456 w 12191999"/>
              <a:gd name="connsiteY191" fmla="*/ 6327513 h 6858001"/>
              <a:gd name="connsiteX192" fmla="*/ 1820806 w 12191999"/>
              <a:gd name="connsiteY192" fmla="*/ 6337248 h 6858001"/>
              <a:gd name="connsiteX193" fmla="*/ 1831387 w 12191999"/>
              <a:gd name="connsiteY193" fmla="*/ 6335615 h 6858001"/>
              <a:gd name="connsiteX194" fmla="*/ 1822862 w 12191999"/>
              <a:gd name="connsiteY194" fmla="*/ 6320591 h 6858001"/>
              <a:gd name="connsiteX195" fmla="*/ 1805752 w 12191999"/>
              <a:gd name="connsiteY195" fmla="*/ 6315300 h 6858001"/>
              <a:gd name="connsiteX196" fmla="*/ 1515165 w 12191999"/>
              <a:gd name="connsiteY196" fmla="*/ 6315300 h 6858001"/>
              <a:gd name="connsiteX197" fmla="*/ 1505763 w 12191999"/>
              <a:gd name="connsiteY197" fmla="*/ 6316600 h 6858001"/>
              <a:gd name="connsiteX198" fmla="*/ 1498840 w 12191999"/>
              <a:gd name="connsiteY198" fmla="*/ 6319774 h 6858001"/>
              <a:gd name="connsiteX199" fmla="*/ 1493489 w 12191999"/>
              <a:gd name="connsiteY199" fmla="*/ 6325851 h 6858001"/>
              <a:gd name="connsiteX200" fmla="*/ 1491524 w 12191999"/>
              <a:gd name="connsiteY200" fmla="*/ 6333801 h 6858001"/>
              <a:gd name="connsiteX201" fmla="*/ 1493913 w 12191999"/>
              <a:gd name="connsiteY201" fmla="*/ 6342417 h 6858001"/>
              <a:gd name="connsiteX202" fmla="*/ 1500926 w 12191999"/>
              <a:gd name="connsiteY202" fmla="*/ 6348524 h 6858001"/>
              <a:gd name="connsiteX203" fmla="*/ 1517523 w 12191999"/>
              <a:gd name="connsiteY203" fmla="*/ 6353754 h 6858001"/>
              <a:gd name="connsiteX204" fmla="*/ 1528648 w 12191999"/>
              <a:gd name="connsiteY204" fmla="*/ 6357442 h 6858001"/>
              <a:gd name="connsiteX205" fmla="*/ 1531852 w 12191999"/>
              <a:gd name="connsiteY205" fmla="*/ 6363246 h 6858001"/>
              <a:gd name="connsiteX206" fmla="*/ 1528224 w 12191999"/>
              <a:gd name="connsiteY206" fmla="*/ 6370411 h 6858001"/>
              <a:gd name="connsiteX207" fmla="*/ 1517100 w 12191999"/>
              <a:gd name="connsiteY207" fmla="*/ 6373464 h 6858001"/>
              <a:gd name="connsiteX208" fmla="*/ 1505521 w 12191999"/>
              <a:gd name="connsiteY208" fmla="*/ 6370018 h 6858001"/>
              <a:gd name="connsiteX209" fmla="*/ 1500472 w 12191999"/>
              <a:gd name="connsiteY209" fmla="*/ 6360102 h 6858001"/>
              <a:gd name="connsiteX210" fmla="*/ 1489710 w 12191999"/>
              <a:gd name="connsiteY210" fmla="*/ 6361795 h 6858001"/>
              <a:gd name="connsiteX211" fmla="*/ 1498084 w 12191999"/>
              <a:gd name="connsiteY211" fmla="*/ 6377213 h 6858001"/>
              <a:gd name="connsiteX212" fmla="*/ 1517160 w 12191999"/>
              <a:gd name="connsiteY212" fmla="*/ 6382412 h 6858001"/>
              <a:gd name="connsiteX213" fmla="*/ 1530703 w 12191999"/>
              <a:gd name="connsiteY213" fmla="*/ 6379782 h 6858001"/>
              <a:gd name="connsiteX214" fmla="*/ 1539863 w 12191999"/>
              <a:gd name="connsiteY214" fmla="*/ 6372345 h 6858001"/>
              <a:gd name="connsiteX215" fmla="*/ 1543037 w 12191999"/>
              <a:gd name="connsiteY215" fmla="*/ 6362097 h 6858001"/>
              <a:gd name="connsiteX216" fmla="*/ 1540437 w 12191999"/>
              <a:gd name="connsiteY216" fmla="*/ 6352786 h 6858001"/>
              <a:gd name="connsiteX217" fmla="*/ 1533273 w 12191999"/>
              <a:gd name="connsiteY217" fmla="*/ 6347073 h 6858001"/>
              <a:gd name="connsiteX218" fmla="*/ 1517160 w 12191999"/>
              <a:gd name="connsiteY218" fmla="*/ 6342024 h 6858001"/>
              <a:gd name="connsiteX219" fmla="*/ 1507547 w 12191999"/>
              <a:gd name="connsiteY219" fmla="*/ 6339243 h 6858001"/>
              <a:gd name="connsiteX220" fmla="*/ 1503375 w 12191999"/>
              <a:gd name="connsiteY220" fmla="*/ 6336341 h 6858001"/>
              <a:gd name="connsiteX221" fmla="*/ 1502044 w 12191999"/>
              <a:gd name="connsiteY221" fmla="*/ 6332532 h 6858001"/>
              <a:gd name="connsiteX222" fmla="*/ 1505249 w 12191999"/>
              <a:gd name="connsiteY222" fmla="*/ 6326727 h 6858001"/>
              <a:gd name="connsiteX223" fmla="*/ 1515951 w 12191999"/>
              <a:gd name="connsiteY223" fmla="*/ 6324248 h 6858001"/>
              <a:gd name="connsiteX224" fmla="*/ 1525776 w 12191999"/>
              <a:gd name="connsiteY224" fmla="*/ 6327030 h 6858001"/>
              <a:gd name="connsiteX225" fmla="*/ 1529978 w 12191999"/>
              <a:gd name="connsiteY225" fmla="*/ 6334769 h 6858001"/>
              <a:gd name="connsiteX226" fmla="*/ 1540619 w 12191999"/>
              <a:gd name="connsiteY226" fmla="*/ 6333318 h 6858001"/>
              <a:gd name="connsiteX227" fmla="*/ 1536870 w 12191999"/>
              <a:gd name="connsiteY227" fmla="*/ 6323372 h 6858001"/>
              <a:gd name="connsiteX228" fmla="*/ 1528436 w 12191999"/>
              <a:gd name="connsiteY228" fmla="*/ 6317477 h 6858001"/>
              <a:gd name="connsiteX229" fmla="*/ 1515165 w 12191999"/>
              <a:gd name="connsiteY229" fmla="*/ 6315300 h 6858001"/>
              <a:gd name="connsiteX230" fmla="*/ 1479544 w 12191999"/>
              <a:gd name="connsiteY230" fmla="*/ 6315300 h 6858001"/>
              <a:gd name="connsiteX231" fmla="*/ 1472560 w 12191999"/>
              <a:gd name="connsiteY231" fmla="*/ 6317477 h 6858001"/>
              <a:gd name="connsiteX232" fmla="*/ 1465638 w 12191999"/>
              <a:gd name="connsiteY232" fmla="*/ 6326486 h 6858001"/>
              <a:gd name="connsiteX233" fmla="*/ 1465638 w 12191999"/>
              <a:gd name="connsiteY233" fmla="*/ 6316751 h 6858001"/>
              <a:gd name="connsiteX234" fmla="*/ 1455843 w 12191999"/>
              <a:gd name="connsiteY234" fmla="*/ 6316751 h 6858001"/>
              <a:gd name="connsiteX235" fmla="*/ 1455843 w 12191999"/>
              <a:gd name="connsiteY235" fmla="*/ 6380961 h 6858001"/>
              <a:gd name="connsiteX236" fmla="*/ 1466726 w 12191999"/>
              <a:gd name="connsiteY236" fmla="*/ 6380961 h 6858001"/>
              <a:gd name="connsiteX237" fmla="*/ 1466726 w 12191999"/>
              <a:gd name="connsiteY237" fmla="*/ 6347345 h 6858001"/>
              <a:gd name="connsiteX238" fmla="*/ 1468540 w 12191999"/>
              <a:gd name="connsiteY238" fmla="*/ 6334648 h 6858001"/>
              <a:gd name="connsiteX239" fmla="*/ 1472590 w 12191999"/>
              <a:gd name="connsiteY239" fmla="*/ 6328692 h 6858001"/>
              <a:gd name="connsiteX240" fmla="*/ 1479000 w 12191999"/>
              <a:gd name="connsiteY240" fmla="*/ 6326546 h 6858001"/>
              <a:gd name="connsiteX241" fmla="*/ 1486980 w 12191999"/>
              <a:gd name="connsiteY241" fmla="*/ 6328904 h 6858001"/>
              <a:gd name="connsiteX242" fmla="*/ 1490729 w 12191999"/>
              <a:gd name="connsiteY242" fmla="*/ 6318807 h 6858001"/>
              <a:gd name="connsiteX243" fmla="*/ 1479544 w 12191999"/>
              <a:gd name="connsiteY243" fmla="*/ 6315300 h 6858001"/>
              <a:gd name="connsiteX244" fmla="*/ 1416436 w 12191999"/>
              <a:gd name="connsiteY244" fmla="*/ 6315300 h 6858001"/>
              <a:gd name="connsiteX245" fmla="*/ 1401865 w 12191999"/>
              <a:gd name="connsiteY245" fmla="*/ 6317567 h 6858001"/>
              <a:gd name="connsiteX246" fmla="*/ 1392251 w 12191999"/>
              <a:gd name="connsiteY246" fmla="*/ 6324037 h 6858001"/>
              <a:gd name="connsiteX247" fmla="*/ 1387475 w 12191999"/>
              <a:gd name="connsiteY247" fmla="*/ 6335071 h 6858001"/>
              <a:gd name="connsiteX248" fmla="*/ 1398116 w 12191999"/>
              <a:gd name="connsiteY248" fmla="*/ 6336522 h 6858001"/>
              <a:gd name="connsiteX249" fmla="*/ 1403527 w 12191999"/>
              <a:gd name="connsiteY249" fmla="*/ 6326999 h 6858001"/>
              <a:gd name="connsiteX250" fmla="*/ 1414864 w 12191999"/>
              <a:gd name="connsiteY250" fmla="*/ 6324309 h 6858001"/>
              <a:gd name="connsiteX251" fmla="*/ 1427258 w 12191999"/>
              <a:gd name="connsiteY251" fmla="*/ 6327997 h 6858001"/>
              <a:gd name="connsiteX252" fmla="*/ 1430342 w 12191999"/>
              <a:gd name="connsiteY252" fmla="*/ 6337369 h 6858001"/>
              <a:gd name="connsiteX253" fmla="*/ 1430281 w 12191999"/>
              <a:gd name="connsiteY253" fmla="*/ 6340210 h 6858001"/>
              <a:gd name="connsiteX254" fmla="*/ 1410873 w 12191999"/>
              <a:gd name="connsiteY254" fmla="*/ 6343959 h 6858001"/>
              <a:gd name="connsiteX255" fmla="*/ 1401199 w 12191999"/>
              <a:gd name="connsiteY255" fmla="*/ 6345591 h 6858001"/>
              <a:gd name="connsiteX256" fmla="*/ 1393370 w 12191999"/>
              <a:gd name="connsiteY256" fmla="*/ 6349159 h 6858001"/>
              <a:gd name="connsiteX257" fmla="*/ 1387747 w 12191999"/>
              <a:gd name="connsiteY257" fmla="*/ 6355416 h 6858001"/>
              <a:gd name="connsiteX258" fmla="*/ 1385600 w 12191999"/>
              <a:gd name="connsiteY258" fmla="*/ 6364032 h 6858001"/>
              <a:gd name="connsiteX259" fmla="*/ 1391284 w 12191999"/>
              <a:gd name="connsiteY259" fmla="*/ 6377243 h 6858001"/>
              <a:gd name="connsiteX260" fmla="*/ 1407548 w 12191999"/>
              <a:gd name="connsiteY260" fmla="*/ 6382412 h 6858001"/>
              <a:gd name="connsiteX261" fmla="*/ 1419550 w 12191999"/>
              <a:gd name="connsiteY261" fmla="*/ 6380296 h 6858001"/>
              <a:gd name="connsiteX262" fmla="*/ 1431188 w 12191999"/>
              <a:gd name="connsiteY262" fmla="*/ 6373041 h 6858001"/>
              <a:gd name="connsiteX263" fmla="*/ 1433365 w 12191999"/>
              <a:gd name="connsiteY263" fmla="*/ 6380961 h 6858001"/>
              <a:gd name="connsiteX264" fmla="*/ 1444732 w 12191999"/>
              <a:gd name="connsiteY264" fmla="*/ 6380961 h 6858001"/>
              <a:gd name="connsiteX265" fmla="*/ 1441981 w 12191999"/>
              <a:gd name="connsiteY265" fmla="*/ 6373252 h 6858001"/>
              <a:gd name="connsiteX266" fmla="*/ 1441285 w 12191999"/>
              <a:gd name="connsiteY266" fmla="*/ 6354056 h 6858001"/>
              <a:gd name="connsiteX267" fmla="*/ 1441285 w 12191999"/>
              <a:gd name="connsiteY267" fmla="*/ 6339545 h 6858001"/>
              <a:gd name="connsiteX268" fmla="*/ 1440741 w 12191999"/>
              <a:gd name="connsiteY268" fmla="*/ 6329509 h 6858001"/>
              <a:gd name="connsiteX269" fmla="*/ 1437355 w 12191999"/>
              <a:gd name="connsiteY269" fmla="*/ 6322102 h 6858001"/>
              <a:gd name="connsiteX270" fmla="*/ 1429798 w 12191999"/>
              <a:gd name="connsiteY270" fmla="*/ 6317235 h 6858001"/>
              <a:gd name="connsiteX271" fmla="*/ 1416436 w 12191999"/>
              <a:gd name="connsiteY271" fmla="*/ 6315300 h 6858001"/>
              <a:gd name="connsiteX272" fmla="*/ 1167698 w 12191999"/>
              <a:gd name="connsiteY272" fmla="*/ 6315300 h 6858001"/>
              <a:gd name="connsiteX273" fmla="*/ 1147503 w 12191999"/>
              <a:gd name="connsiteY273" fmla="*/ 6322435 h 6858001"/>
              <a:gd name="connsiteX274" fmla="*/ 1137588 w 12191999"/>
              <a:gd name="connsiteY274" fmla="*/ 6348856 h 6858001"/>
              <a:gd name="connsiteX275" fmla="*/ 1145901 w 12191999"/>
              <a:gd name="connsiteY275" fmla="*/ 6373766 h 6858001"/>
              <a:gd name="connsiteX276" fmla="*/ 1167698 w 12191999"/>
              <a:gd name="connsiteY276" fmla="*/ 6382412 h 6858001"/>
              <a:gd name="connsiteX277" fmla="*/ 1183206 w 12191999"/>
              <a:gd name="connsiteY277" fmla="*/ 6378482 h 6858001"/>
              <a:gd name="connsiteX278" fmla="*/ 1194028 w 12191999"/>
              <a:gd name="connsiteY278" fmla="*/ 6367448 h 6858001"/>
              <a:gd name="connsiteX279" fmla="*/ 1197747 w 12191999"/>
              <a:gd name="connsiteY279" fmla="*/ 6347949 h 6858001"/>
              <a:gd name="connsiteX280" fmla="*/ 1189343 w 12191999"/>
              <a:gd name="connsiteY280" fmla="*/ 6323976 h 6858001"/>
              <a:gd name="connsiteX281" fmla="*/ 1167698 w 12191999"/>
              <a:gd name="connsiteY281" fmla="*/ 6315300 h 6858001"/>
              <a:gd name="connsiteX282" fmla="*/ 1057965 w 12191999"/>
              <a:gd name="connsiteY282" fmla="*/ 6315300 h 6858001"/>
              <a:gd name="connsiteX283" fmla="*/ 1048563 w 12191999"/>
              <a:gd name="connsiteY283" fmla="*/ 6316600 h 6858001"/>
              <a:gd name="connsiteX284" fmla="*/ 1041640 w 12191999"/>
              <a:gd name="connsiteY284" fmla="*/ 6319774 h 6858001"/>
              <a:gd name="connsiteX285" fmla="*/ 1036289 w 12191999"/>
              <a:gd name="connsiteY285" fmla="*/ 6325851 h 6858001"/>
              <a:gd name="connsiteX286" fmla="*/ 1034324 w 12191999"/>
              <a:gd name="connsiteY286" fmla="*/ 6333801 h 6858001"/>
              <a:gd name="connsiteX287" fmla="*/ 1036712 w 12191999"/>
              <a:gd name="connsiteY287" fmla="*/ 6342417 h 6858001"/>
              <a:gd name="connsiteX288" fmla="*/ 1043726 w 12191999"/>
              <a:gd name="connsiteY288" fmla="*/ 6348524 h 6858001"/>
              <a:gd name="connsiteX289" fmla="*/ 1060323 w 12191999"/>
              <a:gd name="connsiteY289" fmla="*/ 6353754 h 6858001"/>
              <a:gd name="connsiteX290" fmla="*/ 1071447 w 12191999"/>
              <a:gd name="connsiteY290" fmla="*/ 6357442 h 6858001"/>
              <a:gd name="connsiteX291" fmla="*/ 1074652 w 12191999"/>
              <a:gd name="connsiteY291" fmla="*/ 6363246 h 6858001"/>
              <a:gd name="connsiteX292" fmla="*/ 1071024 w 12191999"/>
              <a:gd name="connsiteY292" fmla="*/ 6370411 h 6858001"/>
              <a:gd name="connsiteX293" fmla="*/ 1059899 w 12191999"/>
              <a:gd name="connsiteY293" fmla="*/ 6373464 h 6858001"/>
              <a:gd name="connsiteX294" fmla="*/ 1048321 w 12191999"/>
              <a:gd name="connsiteY294" fmla="*/ 6370018 h 6858001"/>
              <a:gd name="connsiteX295" fmla="*/ 1043272 w 12191999"/>
              <a:gd name="connsiteY295" fmla="*/ 6360102 h 6858001"/>
              <a:gd name="connsiteX296" fmla="*/ 1032510 w 12191999"/>
              <a:gd name="connsiteY296" fmla="*/ 6361795 h 6858001"/>
              <a:gd name="connsiteX297" fmla="*/ 1040884 w 12191999"/>
              <a:gd name="connsiteY297" fmla="*/ 6377213 h 6858001"/>
              <a:gd name="connsiteX298" fmla="*/ 1059960 w 12191999"/>
              <a:gd name="connsiteY298" fmla="*/ 6382412 h 6858001"/>
              <a:gd name="connsiteX299" fmla="*/ 1073503 w 12191999"/>
              <a:gd name="connsiteY299" fmla="*/ 6379782 h 6858001"/>
              <a:gd name="connsiteX300" fmla="*/ 1082663 w 12191999"/>
              <a:gd name="connsiteY300" fmla="*/ 6372345 h 6858001"/>
              <a:gd name="connsiteX301" fmla="*/ 1085837 w 12191999"/>
              <a:gd name="connsiteY301" fmla="*/ 6362097 h 6858001"/>
              <a:gd name="connsiteX302" fmla="*/ 1083237 w 12191999"/>
              <a:gd name="connsiteY302" fmla="*/ 6352786 h 6858001"/>
              <a:gd name="connsiteX303" fmla="*/ 1076073 w 12191999"/>
              <a:gd name="connsiteY303" fmla="*/ 6347073 h 6858001"/>
              <a:gd name="connsiteX304" fmla="*/ 1059960 w 12191999"/>
              <a:gd name="connsiteY304" fmla="*/ 6342024 h 6858001"/>
              <a:gd name="connsiteX305" fmla="*/ 1050346 w 12191999"/>
              <a:gd name="connsiteY305" fmla="*/ 6339243 h 6858001"/>
              <a:gd name="connsiteX306" fmla="*/ 1046175 w 12191999"/>
              <a:gd name="connsiteY306" fmla="*/ 6336341 h 6858001"/>
              <a:gd name="connsiteX307" fmla="*/ 1044844 w 12191999"/>
              <a:gd name="connsiteY307" fmla="*/ 6332532 h 6858001"/>
              <a:gd name="connsiteX308" fmla="*/ 1048049 w 12191999"/>
              <a:gd name="connsiteY308" fmla="*/ 6326727 h 6858001"/>
              <a:gd name="connsiteX309" fmla="*/ 1058751 w 12191999"/>
              <a:gd name="connsiteY309" fmla="*/ 6324248 h 6858001"/>
              <a:gd name="connsiteX310" fmla="*/ 1068576 w 12191999"/>
              <a:gd name="connsiteY310" fmla="*/ 6327030 h 6858001"/>
              <a:gd name="connsiteX311" fmla="*/ 1072778 w 12191999"/>
              <a:gd name="connsiteY311" fmla="*/ 6334769 h 6858001"/>
              <a:gd name="connsiteX312" fmla="*/ 1083419 w 12191999"/>
              <a:gd name="connsiteY312" fmla="*/ 6333318 h 6858001"/>
              <a:gd name="connsiteX313" fmla="*/ 1079670 w 12191999"/>
              <a:gd name="connsiteY313" fmla="*/ 6323372 h 6858001"/>
              <a:gd name="connsiteX314" fmla="*/ 1071236 w 12191999"/>
              <a:gd name="connsiteY314" fmla="*/ 6317477 h 6858001"/>
              <a:gd name="connsiteX315" fmla="*/ 1057965 w 12191999"/>
              <a:gd name="connsiteY315" fmla="*/ 6315300 h 6858001"/>
              <a:gd name="connsiteX316" fmla="*/ 991290 w 12191999"/>
              <a:gd name="connsiteY316" fmla="*/ 6315300 h 6858001"/>
              <a:gd name="connsiteX317" fmla="*/ 981888 w 12191999"/>
              <a:gd name="connsiteY317" fmla="*/ 6316600 h 6858001"/>
              <a:gd name="connsiteX318" fmla="*/ 974965 w 12191999"/>
              <a:gd name="connsiteY318" fmla="*/ 6319774 h 6858001"/>
              <a:gd name="connsiteX319" fmla="*/ 969614 w 12191999"/>
              <a:gd name="connsiteY319" fmla="*/ 6325851 h 6858001"/>
              <a:gd name="connsiteX320" fmla="*/ 967649 w 12191999"/>
              <a:gd name="connsiteY320" fmla="*/ 6333801 h 6858001"/>
              <a:gd name="connsiteX321" fmla="*/ 970037 w 12191999"/>
              <a:gd name="connsiteY321" fmla="*/ 6342417 h 6858001"/>
              <a:gd name="connsiteX322" fmla="*/ 977051 w 12191999"/>
              <a:gd name="connsiteY322" fmla="*/ 6348524 h 6858001"/>
              <a:gd name="connsiteX323" fmla="*/ 993648 w 12191999"/>
              <a:gd name="connsiteY323" fmla="*/ 6353754 h 6858001"/>
              <a:gd name="connsiteX324" fmla="*/ 1004772 w 12191999"/>
              <a:gd name="connsiteY324" fmla="*/ 6357442 h 6858001"/>
              <a:gd name="connsiteX325" fmla="*/ 1007977 w 12191999"/>
              <a:gd name="connsiteY325" fmla="*/ 6363246 h 6858001"/>
              <a:gd name="connsiteX326" fmla="*/ 1004349 w 12191999"/>
              <a:gd name="connsiteY326" fmla="*/ 6370411 h 6858001"/>
              <a:gd name="connsiteX327" fmla="*/ 993224 w 12191999"/>
              <a:gd name="connsiteY327" fmla="*/ 6373464 h 6858001"/>
              <a:gd name="connsiteX328" fmla="*/ 981646 w 12191999"/>
              <a:gd name="connsiteY328" fmla="*/ 6370018 h 6858001"/>
              <a:gd name="connsiteX329" fmla="*/ 976598 w 12191999"/>
              <a:gd name="connsiteY329" fmla="*/ 6360102 h 6858001"/>
              <a:gd name="connsiteX330" fmla="*/ 965835 w 12191999"/>
              <a:gd name="connsiteY330" fmla="*/ 6361795 h 6858001"/>
              <a:gd name="connsiteX331" fmla="*/ 974209 w 12191999"/>
              <a:gd name="connsiteY331" fmla="*/ 6377213 h 6858001"/>
              <a:gd name="connsiteX332" fmla="*/ 993285 w 12191999"/>
              <a:gd name="connsiteY332" fmla="*/ 6382412 h 6858001"/>
              <a:gd name="connsiteX333" fmla="*/ 1006828 w 12191999"/>
              <a:gd name="connsiteY333" fmla="*/ 6379782 h 6858001"/>
              <a:gd name="connsiteX334" fmla="*/ 1015988 w 12191999"/>
              <a:gd name="connsiteY334" fmla="*/ 6372345 h 6858001"/>
              <a:gd name="connsiteX335" fmla="*/ 1019162 w 12191999"/>
              <a:gd name="connsiteY335" fmla="*/ 6362097 h 6858001"/>
              <a:gd name="connsiteX336" fmla="*/ 1016562 w 12191999"/>
              <a:gd name="connsiteY336" fmla="*/ 6352786 h 6858001"/>
              <a:gd name="connsiteX337" fmla="*/ 1009398 w 12191999"/>
              <a:gd name="connsiteY337" fmla="*/ 6347073 h 6858001"/>
              <a:gd name="connsiteX338" fmla="*/ 993285 w 12191999"/>
              <a:gd name="connsiteY338" fmla="*/ 6342024 h 6858001"/>
              <a:gd name="connsiteX339" fmla="*/ 983671 w 12191999"/>
              <a:gd name="connsiteY339" fmla="*/ 6339243 h 6858001"/>
              <a:gd name="connsiteX340" fmla="*/ 979500 w 12191999"/>
              <a:gd name="connsiteY340" fmla="*/ 6336341 h 6858001"/>
              <a:gd name="connsiteX341" fmla="*/ 978170 w 12191999"/>
              <a:gd name="connsiteY341" fmla="*/ 6332532 h 6858001"/>
              <a:gd name="connsiteX342" fmla="*/ 981374 w 12191999"/>
              <a:gd name="connsiteY342" fmla="*/ 6326727 h 6858001"/>
              <a:gd name="connsiteX343" fmla="*/ 992076 w 12191999"/>
              <a:gd name="connsiteY343" fmla="*/ 6324248 h 6858001"/>
              <a:gd name="connsiteX344" fmla="*/ 1001900 w 12191999"/>
              <a:gd name="connsiteY344" fmla="*/ 6327030 h 6858001"/>
              <a:gd name="connsiteX345" fmla="*/ 1006103 w 12191999"/>
              <a:gd name="connsiteY345" fmla="*/ 6334769 h 6858001"/>
              <a:gd name="connsiteX346" fmla="*/ 1016744 w 12191999"/>
              <a:gd name="connsiteY346" fmla="*/ 6333318 h 6858001"/>
              <a:gd name="connsiteX347" fmla="*/ 1012995 w 12191999"/>
              <a:gd name="connsiteY347" fmla="*/ 6323372 h 6858001"/>
              <a:gd name="connsiteX348" fmla="*/ 1004561 w 12191999"/>
              <a:gd name="connsiteY348" fmla="*/ 6317477 h 6858001"/>
              <a:gd name="connsiteX349" fmla="*/ 991290 w 12191999"/>
              <a:gd name="connsiteY349" fmla="*/ 6315300 h 6858001"/>
              <a:gd name="connsiteX350" fmla="*/ 929875 w 12191999"/>
              <a:gd name="connsiteY350" fmla="*/ 6315300 h 6858001"/>
              <a:gd name="connsiteX351" fmla="*/ 908229 w 12191999"/>
              <a:gd name="connsiteY351" fmla="*/ 6324248 h 6858001"/>
              <a:gd name="connsiteX352" fmla="*/ 899886 w 12191999"/>
              <a:gd name="connsiteY352" fmla="*/ 6349400 h 6858001"/>
              <a:gd name="connsiteX353" fmla="*/ 908139 w 12191999"/>
              <a:gd name="connsiteY353" fmla="*/ 6373736 h 6858001"/>
              <a:gd name="connsiteX354" fmla="*/ 930479 w 12191999"/>
              <a:gd name="connsiteY354" fmla="*/ 6382412 h 6858001"/>
              <a:gd name="connsiteX355" fmla="*/ 948860 w 12191999"/>
              <a:gd name="connsiteY355" fmla="*/ 6376971 h 6858001"/>
              <a:gd name="connsiteX356" fmla="*/ 958715 w 12191999"/>
              <a:gd name="connsiteY356" fmla="*/ 6361674 h 6858001"/>
              <a:gd name="connsiteX357" fmla="*/ 947469 w 12191999"/>
              <a:gd name="connsiteY357" fmla="*/ 6360283 h 6858001"/>
              <a:gd name="connsiteX358" fmla="*/ 940758 w 12191999"/>
              <a:gd name="connsiteY358" fmla="*/ 6370320 h 6858001"/>
              <a:gd name="connsiteX359" fmla="*/ 930540 w 12191999"/>
              <a:gd name="connsiteY359" fmla="*/ 6373464 h 6858001"/>
              <a:gd name="connsiteX360" fmla="*/ 917117 w 12191999"/>
              <a:gd name="connsiteY360" fmla="*/ 6367841 h 6858001"/>
              <a:gd name="connsiteX361" fmla="*/ 911132 w 12191999"/>
              <a:gd name="connsiteY361" fmla="*/ 6351637 h 6858001"/>
              <a:gd name="connsiteX362" fmla="*/ 959017 w 12191999"/>
              <a:gd name="connsiteY362" fmla="*/ 6351637 h 6858001"/>
              <a:gd name="connsiteX363" fmla="*/ 959078 w 12191999"/>
              <a:gd name="connsiteY363" fmla="*/ 6348735 h 6858001"/>
              <a:gd name="connsiteX364" fmla="*/ 950915 w 12191999"/>
              <a:gd name="connsiteY364" fmla="*/ 6324067 h 6858001"/>
              <a:gd name="connsiteX365" fmla="*/ 929875 w 12191999"/>
              <a:gd name="connsiteY365" fmla="*/ 6315300 h 6858001"/>
              <a:gd name="connsiteX366" fmla="*/ 867069 w 12191999"/>
              <a:gd name="connsiteY366" fmla="*/ 6315300 h 6858001"/>
              <a:gd name="connsiteX367" fmla="*/ 846633 w 12191999"/>
              <a:gd name="connsiteY367" fmla="*/ 6325881 h 6858001"/>
              <a:gd name="connsiteX368" fmla="*/ 846633 w 12191999"/>
              <a:gd name="connsiteY368" fmla="*/ 6316751 h 6858001"/>
              <a:gd name="connsiteX369" fmla="*/ 836839 w 12191999"/>
              <a:gd name="connsiteY369" fmla="*/ 6316751 h 6858001"/>
              <a:gd name="connsiteX370" fmla="*/ 836839 w 12191999"/>
              <a:gd name="connsiteY370" fmla="*/ 6380961 h 6858001"/>
              <a:gd name="connsiteX371" fmla="*/ 847722 w 12191999"/>
              <a:gd name="connsiteY371" fmla="*/ 6380961 h 6858001"/>
              <a:gd name="connsiteX372" fmla="*/ 847722 w 12191999"/>
              <a:gd name="connsiteY372" fmla="*/ 6345894 h 6858001"/>
              <a:gd name="connsiteX373" fmla="*/ 852770 w 12191999"/>
              <a:gd name="connsiteY373" fmla="*/ 6329146 h 6858001"/>
              <a:gd name="connsiteX374" fmla="*/ 864772 w 12191999"/>
              <a:gd name="connsiteY374" fmla="*/ 6324732 h 6858001"/>
              <a:gd name="connsiteX375" fmla="*/ 872360 w 12191999"/>
              <a:gd name="connsiteY375" fmla="*/ 6326697 h 6858001"/>
              <a:gd name="connsiteX376" fmla="*/ 876864 w 12191999"/>
              <a:gd name="connsiteY376" fmla="*/ 6331957 h 6858001"/>
              <a:gd name="connsiteX377" fmla="*/ 878134 w 12191999"/>
              <a:gd name="connsiteY377" fmla="*/ 6341903 h 6858001"/>
              <a:gd name="connsiteX378" fmla="*/ 878134 w 12191999"/>
              <a:gd name="connsiteY378" fmla="*/ 6380961 h 6858001"/>
              <a:gd name="connsiteX379" fmla="*/ 889017 w 12191999"/>
              <a:gd name="connsiteY379" fmla="*/ 6380961 h 6858001"/>
              <a:gd name="connsiteX380" fmla="*/ 889017 w 12191999"/>
              <a:gd name="connsiteY380" fmla="*/ 6341480 h 6858001"/>
              <a:gd name="connsiteX381" fmla="*/ 888412 w 12191999"/>
              <a:gd name="connsiteY381" fmla="*/ 6330899 h 6858001"/>
              <a:gd name="connsiteX382" fmla="*/ 885026 w 12191999"/>
              <a:gd name="connsiteY382" fmla="*/ 6322858 h 6858001"/>
              <a:gd name="connsiteX383" fmla="*/ 877741 w 12191999"/>
              <a:gd name="connsiteY383" fmla="*/ 6317386 h 6858001"/>
              <a:gd name="connsiteX384" fmla="*/ 867069 w 12191999"/>
              <a:gd name="connsiteY384" fmla="*/ 6315300 h 6858001"/>
              <a:gd name="connsiteX385" fmla="*/ 762690 w 12191999"/>
              <a:gd name="connsiteY385" fmla="*/ 6315300 h 6858001"/>
              <a:gd name="connsiteX386" fmla="*/ 753288 w 12191999"/>
              <a:gd name="connsiteY386" fmla="*/ 6316600 h 6858001"/>
              <a:gd name="connsiteX387" fmla="*/ 746365 w 12191999"/>
              <a:gd name="connsiteY387" fmla="*/ 6319774 h 6858001"/>
              <a:gd name="connsiteX388" fmla="*/ 741014 w 12191999"/>
              <a:gd name="connsiteY388" fmla="*/ 6325851 h 6858001"/>
              <a:gd name="connsiteX389" fmla="*/ 739049 w 12191999"/>
              <a:gd name="connsiteY389" fmla="*/ 6333801 h 6858001"/>
              <a:gd name="connsiteX390" fmla="*/ 741437 w 12191999"/>
              <a:gd name="connsiteY390" fmla="*/ 6342417 h 6858001"/>
              <a:gd name="connsiteX391" fmla="*/ 748451 w 12191999"/>
              <a:gd name="connsiteY391" fmla="*/ 6348524 h 6858001"/>
              <a:gd name="connsiteX392" fmla="*/ 765048 w 12191999"/>
              <a:gd name="connsiteY392" fmla="*/ 6353754 h 6858001"/>
              <a:gd name="connsiteX393" fmla="*/ 776172 w 12191999"/>
              <a:gd name="connsiteY393" fmla="*/ 6357442 h 6858001"/>
              <a:gd name="connsiteX394" fmla="*/ 779377 w 12191999"/>
              <a:gd name="connsiteY394" fmla="*/ 6363246 h 6858001"/>
              <a:gd name="connsiteX395" fmla="*/ 775749 w 12191999"/>
              <a:gd name="connsiteY395" fmla="*/ 6370411 h 6858001"/>
              <a:gd name="connsiteX396" fmla="*/ 764624 w 12191999"/>
              <a:gd name="connsiteY396" fmla="*/ 6373464 h 6858001"/>
              <a:gd name="connsiteX397" fmla="*/ 753046 w 12191999"/>
              <a:gd name="connsiteY397" fmla="*/ 6370018 h 6858001"/>
              <a:gd name="connsiteX398" fmla="*/ 747997 w 12191999"/>
              <a:gd name="connsiteY398" fmla="*/ 6360102 h 6858001"/>
              <a:gd name="connsiteX399" fmla="*/ 737235 w 12191999"/>
              <a:gd name="connsiteY399" fmla="*/ 6361795 h 6858001"/>
              <a:gd name="connsiteX400" fmla="*/ 745609 w 12191999"/>
              <a:gd name="connsiteY400" fmla="*/ 6377213 h 6858001"/>
              <a:gd name="connsiteX401" fmla="*/ 764685 w 12191999"/>
              <a:gd name="connsiteY401" fmla="*/ 6382412 h 6858001"/>
              <a:gd name="connsiteX402" fmla="*/ 778228 w 12191999"/>
              <a:gd name="connsiteY402" fmla="*/ 6379782 h 6858001"/>
              <a:gd name="connsiteX403" fmla="*/ 787388 w 12191999"/>
              <a:gd name="connsiteY403" fmla="*/ 6372345 h 6858001"/>
              <a:gd name="connsiteX404" fmla="*/ 790562 w 12191999"/>
              <a:gd name="connsiteY404" fmla="*/ 6362097 h 6858001"/>
              <a:gd name="connsiteX405" fmla="*/ 787962 w 12191999"/>
              <a:gd name="connsiteY405" fmla="*/ 6352786 h 6858001"/>
              <a:gd name="connsiteX406" fmla="*/ 780798 w 12191999"/>
              <a:gd name="connsiteY406" fmla="*/ 6347073 h 6858001"/>
              <a:gd name="connsiteX407" fmla="*/ 764685 w 12191999"/>
              <a:gd name="connsiteY407" fmla="*/ 6342024 h 6858001"/>
              <a:gd name="connsiteX408" fmla="*/ 755071 w 12191999"/>
              <a:gd name="connsiteY408" fmla="*/ 6339243 h 6858001"/>
              <a:gd name="connsiteX409" fmla="*/ 750900 w 12191999"/>
              <a:gd name="connsiteY409" fmla="*/ 6336341 h 6858001"/>
              <a:gd name="connsiteX410" fmla="*/ 749569 w 12191999"/>
              <a:gd name="connsiteY410" fmla="*/ 6332532 h 6858001"/>
              <a:gd name="connsiteX411" fmla="*/ 752774 w 12191999"/>
              <a:gd name="connsiteY411" fmla="*/ 6326727 h 6858001"/>
              <a:gd name="connsiteX412" fmla="*/ 763476 w 12191999"/>
              <a:gd name="connsiteY412" fmla="*/ 6324248 h 6858001"/>
              <a:gd name="connsiteX413" fmla="*/ 773301 w 12191999"/>
              <a:gd name="connsiteY413" fmla="*/ 6327030 h 6858001"/>
              <a:gd name="connsiteX414" fmla="*/ 777503 w 12191999"/>
              <a:gd name="connsiteY414" fmla="*/ 6334769 h 6858001"/>
              <a:gd name="connsiteX415" fmla="*/ 788144 w 12191999"/>
              <a:gd name="connsiteY415" fmla="*/ 6333318 h 6858001"/>
              <a:gd name="connsiteX416" fmla="*/ 784395 w 12191999"/>
              <a:gd name="connsiteY416" fmla="*/ 6323372 h 6858001"/>
              <a:gd name="connsiteX417" fmla="*/ 775961 w 12191999"/>
              <a:gd name="connsiteY417" fmla="*/ 6317477 h 6858001"/>
              <a:gd name="connsiteX418" fmla="*/ 762690 w 12191999"/>
              <a:gd name="connsiteY418" fmla="*/ 6315300 h 6858001"/>
              <a:gd name="connsiteX419" fmla="*/ 525681 w 12191999"/>
              <a:gd name="connsiteY419" fmla="*/ 6301636 h 6858001"/>
              <a:gd name="connsiteX420" fmla="*/ 531969 w 12191999"/>
              <a:gd name="connsiteY420" fmla="*/ 6320016 h 6858001"/>
              <a:gd name="connsiteX421" fmla="*/ 541219 w 12191999"/>
              <a:gd name="connsiteY421" fmla="*/ 6344563 h 6858001"/>
              <a:gd name="connsiteX422" fmla="*/ 511170 w 12191999"/>
              <a:gd name="connsiteY422" fmla="*/ 6344563 h 6858001"/>
              <a:gd name="connsiteX423" fmla="*/ 520904 w 12191999"/>
              <a:gd name="connsiteY423" fmla="*/ 6318565 h 6858001"/>
              <a:gd name="connsiteX424" fmla="*/ 525681 w 12191999"/>
              <a:gd name="connsiteY424" fmla="*/ 6301636 h 6858001"/>
              <a:gd name="connsiteX425" fmla="*/ 1847396 w 12191999"/>
              <a:gd name="connsiteY425" fmla="*/ 6292325 h 6858001"/>
              <a:gd name="connsiteX426" fmla="*/ 1847396 w 12191999"/>
              <a:gd name="connsiteY426" fmla="*/ 6380961 h 6858001"/>
              <a:gd name="connsiteX427" fmla="*/ 1902778 w 12191999"/>
              <a:gd name="connsiteY427" fmla="*/ 6380961 h 6858001"/>
              <a:gd name="connsiteX428" fmla="*/ 1902778 w 12191999"/>
              <a:gd name="connsiteY428" fmla="*/ 6370501 h 6858001"/>
              <a:gd name="connsiteX429" fmla="*/ 1859125 w 12191999"/>
              <a:gd name="connsiteY429" fmla="*/ 6370501 h 6858001"/>
              <a:gd name="connsiteX430" fmla="*/ 1859125 w 12191999"/>
              <a:gd name="connsiteY430" fmla="*/ 6292325 h 6858001"/>
              <a:gd name="connsiteX431" fmla="*/ 1676067 w 12191999"/>
              <a:gd name="connsiteY431" fmla="*/ 6292325 h 6858001"/>
              <a:gd name="connsiteX432" fmla="*/ 1676067 w 12191999"/>
              <a:gd name="connsiteY432" fmla="*/ 6380961 h 6858001"/>
              <a:gd name="connsiteX433" fmla="*/ 1687373 w 12191999"/>
              <a:gd name="connsiteY433" fmla="*/ 6380961 h 6858001"/>
              <a:gd name="connsiteX434" fmla="*/ 1687373 w 12191999"/>
              <a:gd name="connsiteY434" fmla="*/ 6305505 h 6858001"/>
              <a:gd name="connsiteX435" fmla="*/ 1713008 w 12191999"/>
              <a:gd name="connsiteY435" fmla="*/ 6380961 h 6858001"/>
              <a:gd name="connsiteX436" fmla="*/ 1723589 w 12191999"/>
              <a:gd name="connsiteY436" fmla="*/ 6380961 h 6858001"/>
              <a:gd name="connsiteX437" fmla="*/ 1749346 w 12191999"/>
              <a:gd name="connsiteY437" fmla="*/ 6306775 h 6858001"/>
              <a:gd name="connsiteX438" fmla="*/ 1749346 w 12191999"/>
              <a:gd name="connsiteY438" fmla="*/ 6380961 h 6858001"/>
              <a:gd name="connsiteX439" fmla="*/ 1760652 w 12191999"/>
              <a:gd name="connsiteY439" fmla="*/ 6380961 h 6858001"/>
              <a:gd name="connsiteX440" fmla="*/ 1760652 w 12191999"/>
              <a:gd name="connsiteY440" fmla="*/ 6292325 h 6858001"/>
              <a:gd name="connsiteX441" fmla="*/ 1744872 w 12191999"/>
              <a:gd name="connsiteY441" fmla="*/ 6292325 h 6858001"/>
              <a:gd name="connsiteX442" fmla="*/ 1723650 w 12191999"/>
              <a:gd name="connsiteY442" fmla="*/ 6353995 h 6858001"/>
              <a:gd name="connsiteX443" fmla="*/ 1718933 w 12191999"/>
              <a:gd name="connsiteY443" fmla="*/ 6368204 h 6858001"/>
              <a:gd name="connsiteX444" fmla="*/ 1714701 w 12191999"/>
              <a:gd name="connsiteY444" fmla="*/ 6355084 h 6858001"/>
              <a:gd name="connsiteX445" fmla="*/ 1693721 w 12191999"/>
              <a:gd name="connsiteY445" fmla="*/ 6292325 h 6858001"/>
              <a:gd name="connsiteX446" fmla="*/ 1560739 w 12191999"/>
              <a:gd name="connsiteY446" fmla="*/ 6292325 h 6858001"/>
              <a:gd name="connsiteX447" fmla="*/ 1560739 w 12191999"/>
              <a:gd name="connsiteY447" fmla="*/ 6380961 h 6858001"/>
              <a:gd name="connsiteX448" fmla="*/ 1571622 w 12191999"/>
              <a:gd name="connsiteY448" fmla="*/ 6380961 h 6858001"/>
              <a:gd name="connsiteX449" fmla="*/ 1571622 w 12191999"/>
              <a:gd name="connsiteY449" fmla="*/ 6345833 h 6858001"/>
              <a:gd name="connsiteX450" fmla="*/ 1573435 w 12191999"/>
              <a:gd name="connsiteY450" fmla="*/ 6333983 h 6858001"/>
              <a:gd name="connsiteX451" fmla="*/ 1579512 w 12191999"/>
              <a:gd name="connsiteY451" fmla="*/ 6327181 h 6858001"/>
              <a:gd name="connsiteX452" fmla="*/ 1588611 w 12191999"/>
              <a:gd name="connsiteY452" fmla="*/ 6324672 h 6858001"/>
              <a:gd name="connsiteX453" fmla="*/ 1598618 w 12191999"/>
              <a:gd name="connsiteY453" fmla="*/ 6328390 h 6858001"/>
              <a:gd name="connsiteX454" fmla="*/ 1602155 w 12191999"/>
              <a:gd name="connsiteY454" fmla="*/ 6340271 h 6858001"/>
              <a:gd name="connsiteX455" fmla="*/ 1602155 w 12191999"/>
              <a:gd name="connsiteY455" fmla="*/ 6380961 h 6858001"/>
              <a:gd name="connsiteX456" fmla="*/ 1613038 w 12191999"/>
              <a:gd name="connsiteY456" fmla="*/ 6380961 h 6858001"/>
              <a:gd name="connsiteX457" fmla="*/ 1613038 w 12191999"/>
              <a:gd name="connsiteY457" fmla="*/ 6340271 h 6858001"/>
              <a:gd name="connsiteX458" fmla="*/ 1610771 w 12191999"/>
              <a:gd name="connsiteY458" fmla="*/ 6325881 h 6858001"/>
              <a:gd name="connsiteX459" fmla="*/ 1603243 w 12191999"/>
              <a:gd name="connsiteY459" fmla="*/ 6318112 h 6858001"/>
              <a:gd name="connsiteX460" fmla="*/ 1590848 w 12191999"/>
              <a:gd name="connsiteY460" fmla="*/ 6315300 h 6858001"/>
              <a:gd name="connsiteX461" fmla="*/ 1571622 w 12191999"/>
              <a:gd name="connsiteY461" fmla="*/ 6324128 h 6858001"/>
              <a:gd name="connsiteX462" fmla="*/ 1571622 w 12191999"/>
              <a:gd name="connsiteY462" fmla="*/ 6292325 h 6858001"/>
              <a:gd name="connsiteX463" fmla="*/ 1285542 w 12191999"/>
              <a:gd name="connsiteY463" fmla="*/ 6292325 h 6858001"/>
              <a:gd name="connsiteX464" fmla="*/ 1285542 w 12191999"/>
              <a:gd name="connsiteY464" fmla="*/ 6380961 h 6858001"/>
              <a:gd name="connsiteX465" fmla="*/ 1296848 w 12191999"/>
              <a:gd name="connsiteY465" fmla="*/ 6380961 h 6858001"/>
              <a:gd name="connsiteX466" fmla="*/ 1296848 w 12191999"/>
              <a:gd name="connsiteY466" fmla="*/ 6305505 h 6858001"/>
              <a:gd name="connsiteX467" fmla="*/ 1322484 w 12191999"/>
              <a:gd name="connsiteY467" fmla="*/ 6380961 h 6858001"/>
              <a:gd name="connsiteX468" fmla="*/ 1333064 w 12191999"/>
              <a:gd name="connsiteY468" fmla="*/ 6380961 h 6858001"/>
              <a:gd name="connsiteX469" fmla="*/ 1358821 w 12191999"/>
              <a:gd name="connsiteY469" fmla="*/ 6306775 h 6858001"/>
              <a:gd name="connsiteX470" fmla="*/ 1358821 w 12191999"/>
              <a:gd name="connsiteY470" fmla="*/ 6380961 h 6858001"/>
              <a:gd name="connsiteX471" fmla="*/ 1370127 w 12191999"/>
              <a:gd name="connsiteY471" fmla="*/ 6380961 h 6858001"/>
              <a:gd name="connsiteX472" fmla="*/ 1370127 w 12191999"/>
              <a:gd name="connsiteY472" fmla="*/ 6292325 h 6858001"/>
              <a:gd name="connsiteX473" fmla="*/ 1354347 w 12191999"/>
              <a:gd name="connsiteY473" fmla="*/ 6292325 h 6858001"/>
              <a:gd name="connsiteX474" fmla="*/ 1333125 w 12191999"/>
              <a:gd name="connsiteY474" fmla="*/ 6353995 h 6858001"/>
              <a:gd name="connsiteX475" fmla="*/ 1328409 w 12191999"/>
              <a:gd name="connsiteY475" fmla="*/ 6368204 h 6858001"/>
              <a:gd name="connsiteX476" fmla="*/ 1324176 w 12191999"/>
              <a:gd name="connsiteY476" fmla="*/ 6355084 h 6858001"/>
              <a:gd name="connsiteX477" fmla="*/ 1303196 w 12191999"/>
              <a:gd name="connsiteY477" fmla="*/ 6292325 h 6858001"/>
              <a:gd name="connsiteX478" fmla="*/ 808324 w 12191999"/>
              <a:gd name="connsiteY478" fmla="*/ 6292325 h 6858001"/>
              <a:gd name="connsiteX479" fmla="*/ 808324 w 12191999"/>
              <a:gd name="connsiteY479" fmla="*/ 6304840 h 6858001"/>
              <a:gd name="connsiteX480" fmla="*/ 819207 w 12191999"/>
              <a:gd name="connsiteY480" fmla="*/ 6304840 h 6858001"/>
              <a:gd name="connsiteX481" fmla="*/ 819207 w 12191999"/>
              <a:gd name="connsiteY481" fmla="*/ 6292325 h 6858001"/>
              <a:gd name="connsiteX482" fmla="*/ 608178 w 12191999"/>
              <a:gd name="connsiteY482" fmla="*/ 6292325 h 6858001"/>
              <a:gd name="connsiteX483" fmla="*/ 608178 w 12191999"/>
              <a:gd name="connsiteY483" fmla="*/ 6380961 h 6858001"/>
              <a:gd name="connsiteX484" fmla="*/ 618275 w 12191999"/>
              <a:gd name="connsiteY484" fmla="*/ 6380961 h 6858001"/>
              <a:gd name="connsiteX485" fmla="*/ 618275 w 12191999"/>
              <a:gd name="connsiteY485" fmla="*/ 6372920 h 6858001"/>
              <a:gd name="connsiteX486" fmla="*/ 636111 w 12191999"/>
              <a:gd name="connsiteY486" fmla="*/ 6382412 h 6858001"/>
              <a:gd name="connsiteX487" fmla="*/ 655701 w 12191999"/>
              <a:gd name="connsiteY487" fmla="*/ 6373404 h 6858001"/>
              <a:gd name="connsiteX488" fmla="*/ 663863 w 12191999"/>
              <a:gd name="connsiteY488" fmla="*/ 6347889 h 6858001"/>
              <a:gd name="connsiteX489" fmla="*/ 661928 w 12191999"/>
              <a:gd name="connsiteY489" fmla="*/ 6334829 h 6858001"/>
              <a:gd name="connsiteX490" fmla="*/ 656577 w 12191999"/>
              <a:gd name="connsiteY490" fmla="*/ 6324400 h 6858001"/>
              <a:gd name="connsiteX491" fmla="*/ 647871 w 12191999"/>
              <a:gd name="connsiteY491" fmla="*/ 6317688 h 6858001"/>
              <a:gd name="connsiteX492" fmla="*/ 636655 w 12191999"/>
              <a:gd name="connsiteY492" fmla="*/ 6315300 h 6858001"/>
              <a:gd name="connsiteX493" fmla="*/ 619061 w 12191999"/>
              <a:gd name="connsiteY493" fmla="*/ 6323946 h 6858001"/>
              <a:gd name="connsiteX494" fmla="*/ 619061 w 12191999"/>
              <a:gd name="connsiteY494" fmla="*/ 6292325 h 6858001"/>
              <a:gd name="connsiteX495" fmla="*/ 519635 w 12191999"/>
              <a:gd name="connsiteY495" fmla="*/ 6292325 h 6858001"/>
              <a:gd name="connsiteX496" fmla="*/ 485595 w 12191999"/>
              <a:gd name="connsiteY496" fmla="*/ 6380961 h 6858001"/>
              <a:gd name="connsiteX497" fmla="*/ 498050 w 12191999"/>
              <a:gd name="connsiteY497" fmla="*/ 6380961 h 6858001"/>
              <a:gd name="connsiteX498" fmla="*/ 507784 w 12191999"/>
              <a:gd name="connsiteY498" fmla="*/ 6354116 h 6858001"/>
              <a:gd name="connsiteX499" fmla="*/ 544847 w 12191999"/>
              <a:gd name="connsiteY499" fmla="*/ 6354116 h 6858001"/>
              <a:gd name="connsiteX500" fmla="*/ 555186 w 12191999"/>
              <a:gd name="connsiteY500" fmla="*/ 6380961 h 6858001"/>
              <a:gd name="connsiteX501" fmla="*/ 568548 w 12191999"/>
              <a:gd name="connsiteY501" fmla="*/ 6380961 h 6858001"/>
              <a:gd name="connsiteX502" fmla="*/ 532271 w 12191999"/>
              <a:gd name="connsiteY502" fmla="*/ 6292325 h 6858001"/>
              <a:gd name="connsiteX503" fmla="*/ 1228689 w 12191999"/>
              <a:gd name="connsiteY503" fmla="*/ 6290813 h 6858001"/>
              <a:gd name="connsiteX504" fmla="*/ 1217594 w 12191999"/>
              <a:gd name="connsiteY504" fmla="*/ 6293443 h 6858001"/>
              <a:gd name="connsiteX505" fmla="*/ 1212062 w 12191999"/>
              <a:gd name="connsiteY505" fmla="*/ 6300306 h 6858001"/>
              <a:gd name="connsiteX506" fmla="*/ 1210914 w 12191999"/>
              <a:gd name="connsiteY506" fmla="*/ 6309919 h 6858001"/>
              <a:gd name="connsiteX507" fmla="*/ 1210914 w 12191999"/>
              <a:gd name="connsiteY507" fmla="*/ 6316751 h 6858001"/>
              <a:gd name="connsiteX508" fmla="*/ 1201300 w 12191999"/>
              <a:gd name="connsiteY508" fmla="*/ 6316751 h 6858001"/>
              <a:gd name="connsiteX509" fmla="*/ 1201300 w 12191999"/>
              <a:gd name="connsiteY509" fmla="*/ 6325216 h 6858001"/>
              <a:gd name="connsiteX510" fmla="*/ 1210914 w 12191999"/>
              <a:gd name="connsiteY510" fmla="*/ 6325216 h 6858001"/>
              <a:gd name="connsiteX511" fmla="*/ 1210914 w 12191999"/>
              <a:gd name="connsiteY511" fmla="*/ 6380961 h 6858001"/>
              <a:gd name="connsiteX512" fmla="*/ 1221736 w 12191999"/>
              <a:gd name="connsiteY512" fmla="*/ 6380961 h 6858001"/>
              <a:gd name="connsiteX513" fmla="*/ 1221736 w 12191999"/>
              <a:gd name="connsiteY513" fmla="*/ 6325216 h 6858001"/>
              <a:gd name="connsiteX514" fmla="*/ 1234252 w 12191999"/>
              <a:gd name="connsiteY514" fmla="*/ 6325216 h 6858001"/>
              <a:gd name="connsiteX515" fmla="*/ 1234252 w 12191999"/>
              <a:gd name="connsiteY515" fmla="*/ 6316751 h 6858001"/>
              <a:gd name="connsiteX516" fmla="*/ 1221736 w 12191999"/>
              <a:gd name="connsiteY516" fmla="*/ 6316751 h 6858001"/>
              <a:gd name="connsiteX517" fmla="*/ 1221736 w 12191999"/>
              <a:gd name="connsiteY517" fmla="*/ 6310826 h 6858001"/>
              <a:gd name="connsiteX518" fmla="*/ 1223792 w 12191999"/>
              <a:gd name="connsiteY518" fmla="*/ 6302906 h 6858001"/>
              <a:gd name="connsiteX519" fmla="*/ 1230805 w 12191999"/>
              <a:gd name="connsiteY519" fmla="*/ 6300789 h 6858001"/>
              <a:gd name="connsiteX520" fmla="*/ 1237214 w 12191999"/>
              <a:gd name="connsiteY520" fmla="*/ 6301394 h 6858001"/>
              <a:gd name="connsiteX521" fmla="*/ 1238847 w 12191999"/>
              <a:gd name="connsiteY521" fmla="*/ 6291902 h 6858001"/>
              <a:gd name="connsiteX522" fmla="*/ 1228689 w 12191999"/>
              <a:gd name="connsiteY522" fmla="*/ 6290813 h 6858001"/>
              <a:gd name="connsiteX523" fmla="*/ 7175501 w 12191999"/>
              <a:gd name="connsiteY523" fmla="*/ 1 h 6858001"/>
              <a:gd name="connsiteX524" fmla="*/ 12191999 w 12191999"/>
              <a:gd name="connsiteY524" fmla="*/ 1 h 6858001"/>
              <a:gd name="connsiteX525" fmla="*/ 12191999 w 12191999"/>
              <a:gd name="connsiteY525" fmla="*/ 6858001 h 6858001"/>
              <a:gd name="connsiteX526" fmla="*/ 1 w 12191999"/>
              <a:gd name="connsiteY526" fmla="*/ 6858001 h 6858001"/>
              <a:gd name="connsiteX527" fmla="*/ 1 w 12191999"/>
              <a:gd name="connsiteY527" fmla="*/ 5752619 h 6858001"/>
              <a:gd name="connsiteX528" fmla="*/ 7175501 w 12191999"/>
              <a:gd name="connsiteY528" fmla="*/ 5752619 h 6858001"/>
              <a:gd name="connsiteX529" fmla="*/ 0 w 12191999"/>
              <a:gd name="connsiteY529" fmla="*/ 0 h 6858001"/>
              <a:gd name="connsiteX530" fmla="*/ 7175501 w 12191999"/>
              <a:gd name="connsiteY530" fmla="*/ 0 h 6858001"/>
              <a:gd name="connsiteX531" fmla="*/ 7175501 w 12191999"/>
              <a:gd name="connsiteY531" fmla="*/ 1 h 6858001"/>
              <a:gd name="connsiteX532" fmla="*/ 1 w 12191999"/>
              <a:gd name="connsiteY532" fmla="*/ 1 h 6858001"/>
              <a:gd name="connsiteX533" fmla="*/ 1 w 12191999"/>
              <a:gd name="connsiteY533" fmla="*/ 5752619 h 6858001"/>
              <a:gd name="connsiteX534" fmla="*/ 0 w 12191999"/>
              <a:gd name="connsiteY534" fmla="*/ 575261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Lst>
            <a:rect l="l" t="t" r="r" b="b"/>
            <a:pathLst>
              <a:path w="12191999" h="6858001">
                <a:moveTo>
                  <a:pt x="2154182" y="6348735"/>
                </a:moveTo>
                <a:lnTo>
                  <a:pt x="2154182" y="6352726"/>
                </a:lnTo>
                <a:cubicBezTo>
                  <a:pt x="2154182" y="6357522"/>
                  <a:pt x="2153597" y="6361150"/>
                  <a:pt x="2152428" y="6363609"/>
                </a:cubicBezTo>
                <a:cubicBezTo>
                  <a:pt x="2150896" y="6366793"/>
                  <a:pt x="2148498" y="6369302"/>
                  <a:pt x="2145233" y="6371136"/>
                </a:cubicBezTo>
                <a:cubicBezTo>
                  <a:pt x="2141968" y="6372970"/>
                  <a:pt x="2138240" y="6373887"/>
                  <a:pt x="2134048" y="6373887"/>
                </a:cubicBezTo>
                <a:cubicBezTo>
                  <a:pt x="2129816" y="6373887"/>
                  <a:pt x="2126601" y="6372920"/>
                  <a:pt x="2124404" y="6370985"/>
                </a:cubicBezTo>
                <a:cubicBezTo>
                  <a:pt x="2122207" y="6369050"/>
                  <a:pt x="2121109" y="6366632"/>
                  <a:pt x="2121109" y="6363730"/>
                </a:cubicBezTo>
                <a:cubicBezTo>
                  <a:pt x="2121109" y="6361835"/>
                  <a:pt x="2121613" y="6360112"/>
                  <a:pt x="2122621" y="6358560"/>
                </a:cubicBezTo>
                <a:cubicBezTo>
                  <a:pt x="2123628" y="6357008"/>
                  <a:pt x="2125059" y="6355829"/>
                  <a:pt x="2126913" y="6355023"/>
                </a:cubicBezTo>
                <a:cubicBezTo>
                  <a:pt x="2128768" y="6354217"/>
                  <a:pt x="2131932" y="6353492"/>
                  <a:pt x="2136406" y="6352847"/>
                </a:cubicBezTo>
                <a:cubicBezTo>
                  <a:pt x="2144306" y="6351718"/>
                  <a:pt x="2150231" y="6350348"/>
                  <a:pt x="2154182" y="6348735"/>
                </a:cubicBezTo>
                <a:close/>
                <a:moveTo>
                  <a:pt x="1430281" y="6348735"/>
                </a:moveTo>
                <a:lnTo>
                  <a:pt x="1430281" y="6352726"/>
                </a:lnTo>
                <a:cubicBezTo>
                  <a:pt x="1430281" y="6357522"/>
                  <a:pt x="1429697" y="6361150"/>
                  <a:pt x="1428528" y="6363609"/>
                </a:cubicBezTo>
                <a:cubicBezTo>
                  <a:pt x="1426997" y="6366793"/>
                  <a:pt x="1424598" y="6369302"/>
                  <a:pt x="1421333" y="6371136"/>
                </a:cubicBezTo>
                <a:cubicBezTo>
                  <a:pt x="1418068" y="6372970"/>
                  <a:pt x="1414340" y="6373887"/>
                  <a:pt x="1410148" y="6373887"/>
                </a:cubicBezTo>
                <a:cubicBezTo>
                  <a:pt x="1405916" y="6373887"/>
                  <a:pt x="1402701" y="6372920"/>
                  <a:pt x="1400504" y="6370985"/>
                </a:cubicBezTo>
                <a:cubicBezTo>
                  <a:pt x="1398308" y="6369050"/>
                  <a:pt x="1397209" y="6366632"/>
                  <a:pt x="1397209" y="6363730"/>
                </a:cubicBezTo>
                <a:cubicBezTo>
                  <a:pt x="1397209" y="6361835"/>
                  <a:pt x="1397713" y="6360112"/>
                  <a:pt x="1398721" y="6358560"/>
                </a:cubicBezTo>
                <a:cubicBezTo>
                  <a:pt x="1399728" y="6357008"/>
                  <a:pt x="1401159" y="6355829"/>
                  <a:pt x="1403013" y="6355023"/>
                </a:cubicBezTo>
                <a:cubicBezTo>
                  <a:pt x="1404867" y="6354217"/>
                  <a:pt x="1408032" y="6353492"/>
                  <a:pt x="1412506" y="6352847"/>
                </a:cubicBezTo>
                <a:cubicBezTo>
                  <a:pt x="1420406" y="6351718"/>
                  <a:pt x="1426331" y="6350348"/>
                  <a:pt x="1430281" y="6348735"/>
                </a:cubicBezTo>
                <a:close/>
                <a:moveTo>
                  <a:pt x="1167698" y="6324309"/>
                </a:moveTo>
                <a:cubicBezTo>
                  <a:pt x="1173058" y="6324309"/>
                  <a:pt x="1177543" y="6326355"/>
                  <a:pt x="1181150" y="6330446"/>
                </a:cubicBezTo>
                <a:cubicBezTo>
                  <a:pt x="1184758" y="6334537"/>
                  <a:pt x="1186561" y="6340553"/>
                  <a:pt x="1186561" y="6348493"/>
                </a:cubicBezTo>
                <a:cubicBezTo>
                  <a:pt x="1186561" y="6356918"/>
                  <a:pt x="1184768" y="6363186"/>
                  <a:pt x="1181180" y="6367297"/>
                </a:cubicBezTo>
                <a:cubicBezTo>
                  <a:pt x="1177593" y="6371408"/>
                  <a:pt x="1173099" y="6373464"/>
                  <a:pt x="1167698" y="6373464"/>
                </a:cubicBezTo>
                <a:cubicBezTo>
                  <a:pt x="1162256" y="6373464"/>
                  <a:pt x="1157741" y="6371418"/>
                  <a:pt x="1154154" y="6367327"/>
                </a:cubicBezTo>
                <a:cubicBezTo>
                  <a:pt x="1150567" y="6363236"/>
                  <a:pt x="1148773" y="6357079"/>
                  <a:pt x="1148773" y="6348856"/>
                </a:cubicBezTo>
                <a:cubicBezTo>
                  <a:pt x="1148773" y="6340633"/>
                  <a:pt x="1150567" y="6334487"/>
                  <a:pt x="1154154" y="6330415"/>
                </a:cubicBezTo>
                <a:cubicBezTo>
                  <a:pt x="1157741" y="6326344"/>
                  <a:pt x="1162256" y="6324309"/>
                  <a:pt x="1167698" y="6324309"/>
                </a:cubicBezTo>
                <a:close/>
                <a:moveTo>
                  <a:pt x="1939646" y="6324248"/>
                </a:moveTo>
                <a:cubicBezTo>
                  <a:pt x="1945168" y="6324248"/>
                  <a:pt x="1949662" y="6326344"/>
                  <a:pt x="1953129" y="6330536"/>
                </a:cubicBezTo>
                <a:cubicBezTo>
                  <a:pt x="1955386" y="6333237"/>
                  <a:pt x="1956756" y="6337288"/>
                  <a:pt x="1957240" y="6342689"/>
                </a:cubicBezTo>
                <a:lnTo>
                  <a:pt x="1921387" y="6342689"/>
                </a:lnTo>
                <a:cubicBezTo>
                  <a:pt x="1921749" y="6337086"/>
                  <a:pt x="1923634" y="6332612"/>
                  <a:pt x="1927040" y="6329267"/>
                </a:cubicBezTo>
                <a:cubicBezTo>
                  <a:pt x="1930445" y="6325921"/>
                  <a:pt x="1934648" y="6324248"/>
                  <a:pt x="1939646" y="6324248"/>
                </a:cubicBezTo>
                <a:close/>
                <a:moveTo>
                  <a:pt x="929996" y="6324248"/>
                </a:moveTo>
                <a:cubicBezTo>
                  <a:pt x="935518" y="6324248"/>
                  <a:pt x="940012" y="6326344"/>
                  <a:pt x="943479" y="6330536"/>
                </a:cubicBezTo>
                <a:cubicBezTo>
                  <a:pt x="945736" y="6333237"/>
                  <a:pt x="947106" y="6337288"/>
                  <a:pt x="947590" y="6342689"/>
                </a:cubicBezTo>
                <a:lnTo>
                  <a:pt x="911736" y="6342689"/>
                </a:lnTo>
                <a:cubicBezTo>
                  <a:pt x="912099" y="6337086"/>
                  <a:pt x="913983" y="6332612"/>
                  <a:pt x="917389" y="6329267"/>
                </a:cubicBezTo>
                <a:cubicBezTo>
                  <a:pt x="920795" y="6325921"/>
                  <a:pt x="924997" y="6324248"/>
                  <a:pt x="929996" y="6324248"/>
                </a:cubicBezTo>
                <a:close/>
                <a:moveTo>
                  <a:pt x="635688" y="6324248"/>
                </a:moveTo>
                <a:cubicBezTo>
                  <a:pt x="640404" y="6324248"/>
                  <a:pt x="644425" y="6326244"/>
                  <a:pt x="647750" y="6330234"/>
                </a:cubicBezTo>
                <a:cubicBezTo>
                  <a:pt x="651075" y="6334225"/>
                  <a:pt x="652738" y="6340412"/>
                  <a:pt x="652738" y="6348796"/>
                </a:cubicBezTo>
                <a:cubicBezTo>
                  <a:pt x="652738" y="6356978"/>
                  <a:pt x="651005" y="6363135"/>
                  <a:pt x="647538" y="6367267"/>
                </a:cubicBezTo>
                <a:cubicBezTo>
                  <a:pt x="644072" y="6371398"/>
                  <a:pt x="639961" y="6373464"/>
                  <a:pt x="635204" y="6373464"/>
                </a:cubicBezTo>
                <a:cubicBezTo>
                  <a:pt x="629360" y="6373464"/>
                  <a:pt x="624724" y="6370663"/>
                  <a:pt x="621298" y="6365060"/>
                </a:cubicBezTo>
                <a:cubicBezTo>
                  <a:pt x="619202" y="6361634"/>
                  <a:pt x="618154" y="6356071"/>
                  <a:pt x="618154" y="6348373"/>
                </a:cubicBezTo>
                <a:cubicBezTo>
                  <a:pt x="618154" y="6340553"/>
                  <a:pt x="619887" y="6334577"/>
                  <a:pt x="623354" y="6330446"/>
                </a:cubicBezTo>
                <a:cubicBezTo>
                  <a:pt x="626820" y="6326314"/>
                  <a:pt x="630932" y="6324248"/>
                  <a:pt x="635688" y="6324248"/>
                </a:cubicBezTo>
                <a:close/>
                <a:moveTo>
                  <a:pt x="808324" y="6316751"/>
                </a:moveTo>
                <a:lnTo>
                  <a:pt x="808324" y="6380961"/>
                </a:lnTo>
                <a:lnTo>
                  <a:pt x="819207" y="6380961"/>
                </a:lnTo>
                <a:lnTo>
                  <a:pt x="819207" y="6316751"/>
                </a:lnTo>
                <a:close/>
                <a:moveTo>
                  <a:pt x="674672" y="6316751"/>
                </a:moveTo>
                <a:lnTo>
                  <a:pt x="674672" y="6356535"/>
                </a:lnTo>
                <a:cubicBezTo>
                  <a:pt x="674672" y="6361170"/>
                  <a:pt x="674893" y="6364556"/>
                  <a:pt x="675337" y="6366692"/>
                </a:cubicBezTo>
                <a:cubicBezTo>
                  <a:pt x="675982" y="6369877"/>
                  <a:pt x="677100" y="6372567"/>
                  <a:pt x="678692" y="6374764"/>
                </a:cubicBezTo>
                <a:cubicBezTo>
                  <a:pt x="680284" y="6376961"/>
                  <a:pt x="682723" y="6378785"/>
                  <a:pt x="686008" y="6380236"/>
                </a:cubicBezTo>
                <a:cubicBezTo>
                  <a:pt x="689293" y="6381687"/>
                  <a:pt x="692830" y="6382412"/>
                  <a:pt x="696619" y="6382412"/>
                </a:cubicBezTo>
                <a:cubicBezTo>
                  <a:pt x="705205" y="6382412"/>
                  <a:pt x="711997" y="6378785"/>
                  <a:pt x="716995" y="6371529"/>
                </a:cubicBezTo>
                <a:lnTo>
                  <a:pt x="716995" y="6380961"/>
                </a:lnTo>
                <a:lnTo>
                  <a:pt x="726729" y="6380961"/>
                </a:lnTo>
                <a:lnTo>
                  <a:pt x="726729" y="6316751"/>
                </a:lnTo>
                <a:lnTo>
                  <a:pt x="715846" y="6316751"/>
                </a:lnTo>
                <a:lnTo>
                  <a:pt x="715846" y="6351154"/>
                </a:lnTo>
                <a:cubicBezTo>
                  <a:pt x="715846" y="6356636"/>
                  <a:pt x="715251" y="6360818"/>
                  <a:pt x="714062" y="6363700"/>
                </a:cubicBezTo>
                <a:cubicBezTo>
                  <a:pt x="712873" y="6366582"/>
                  <a:pt x="710848" y="6368859"/>
                  <a:pt x="707986" y="6370532"/>
                </a:cubicBezTo>
                <a:cubicBezTo>
                  <a:pt x="705124" y="6372204"/>
                  <a:pt x="702061" y="6373041"/>
                  <a:pt x="698796" y="6373041"/>
                </a:cubicBezTo>
                <a:cubicBezTo>
                  <a:pt x="695531" y="6373041"/>
                  <a:pt x="692790" y="6372225"/>
                  <a:pt x="690573" y="6370592"/>
                </a:cubicBezTo>
                <a:cubicBezTo>
                  <a:pt x="688356" y="6368960"/>
                  <a:pt x="686905" y="6366713"/>
                  <a:pt x="686220" y="6363851"/>
                </a:cubicBezTo>
                <a:cubicBezTo>
                  <a:pt x="685776" y="6361876"/>
                  <a:pt x="685555" y="6358046"/>
                  <a:pt x="685555" y="6352363"/>
                </a:cubicBezTo>
                <a:lnTo>
                  <a:pt x="685555" y="6316751"/>
                </a:lnTo>
                <a:close/>
                <a:moveTo>
                  <a:pt x="2210094" y="6315300"/>
                </a:moveTo>
                <a:cubicBezTo>
                  <a:pt x="2201186" y="6315300"/>
                  <a:pt x="2194374" y="6318827"/>
                  <a:pt x="2189659" y="6325881"/>
                </a:cubicBezTo>
                <a:lnTo>
                  <a:pt x="2189659" y="6316751"/>
                </a:lnTo>
                <a:lnTo>
                  <a:pt x="2179864" y="6316751"/>
                </a:lnTo>
                <a:lnTo>
                  <a:pt x="2179864" y="6380961"/>
                </a:lnTo>
                <a:lnTo>
                  <a:pt x="2190747" y="6380961"/>
                </a:lnTo>
                <a:lnTo>
                  <a:pt x="2190747" y="6345894"/>
                </a:lnTo>
                <a:cubicBezTo>
                  <a:pt x="2190747" y="6337671"/>
                  <a:pt x="2192430" y="6332088"/>
                  <a:pt x="2195795" y="6329146"/>
                </a:cubicBezTo>
                <a:cubicBezTo>
                  <a:pt x="2199161" y="6326203"/>
                  <a:pt x="2203161" y="6324732"/>
                  <a:pt x="2207797" y="6324732"/>
                </a:cubicBezTo>
                <a:cubicBezTo>
                  <a:pt x="2210699" y="6324732"/>
                  <a:pt x="2213228" y="6325387"/>
                  <a:pt x="2215385" y="6326697"/>
                </a:cubicBezTo>
                <a:cubicBezTo>
                  <a:pt x="2217541" y="6328007"/>
                  <a:pt x="2219043" y="6329761"/>
                  <a:pt x="2219889" y="6331957"/>
                </a:cubicBezTo>
                <a:cubicBezTo>
                  <a:pt x="2220735" y="6334154"/>
                  <a:pt x="2221159" y="6337469"/>
                  <a:pt x="2221159" y="6341903"/>
                </a:cubicBezTo>
                <a:lnTo>
                  <a:pt x="2221159" y="6380961"/>
                </a:lnTo>
                <a:lnTo>
                  <a:pt x="2232042" y="6380961"/>
                </a:lnTo>
                <a:lnTo>
                  <a:pt x="2232042" y="6341480"/>
                </a:lnTo>
                <a:cubicBezTo>
                  <a:pt x="2232042" y="6336441"/>
                  <a:pt x="2231840" y="6332915"/>
                  <a:pt x="2231437" y="6330899"/>
                </a:cubicBezTo>
                <a:cubicBezTo>
                  <a:pt x="2230792" y="6327796"/>
                  <a:pt x="2229664" y="6325115"/>
                  <a:pt x="2228052" y="6322858"/>
                </a:cubicBezTo>
                <a:cubicBezTo>
                  <a:pt x="2226439" y="6320601"/>
                  <a:pt x="2224011" y="6318777"/>
                  <a:pt x="2220766" y="6317386"/>
                </a:cubicBezTo>
                <a:cubicBezTo>
                  <a:pt x="2217521" y="6315995"/>
                  <a:pt x="2213964" y="6315300"/>
                  <a:pt x="2210094" y="6315300"/>
                </a:cubicBezTo>
                <a:close/>
                <a:moveTo>
                  <a:pt x="2140336" y="6315300"/>
                </a:moveTo>
                <a:cubicBezTo>
                  <a:pt x="2134814" y="6315300"/>
                  <a:pt x="2129957" y="6316056"/>
                  <a:pt x="2125765" y="6317567"/>
                </a:cubicBezTo>
                <a:cubicBezTo>
                  <a:pt x="2121573" y="6319079"/>
                  <a:pt x="2118368" y="6321235"/>
                  <a:pt x="2116151" y="6324037"/>
                </a:cubicBezTo>
                <a:cubicBezTo>
                  <a:pt x="2113934" y="6326838"/>
                  <a:pt x="2112342" y="6330516"/>
                  <a:pt x="2111375" y="6335071"/>
                </a:cubicBezTo>
                <a:lnTo>
                  <a:pt x="2122016" y="6336522"/>
                </a:lnTo>
                <a:cubicBezTo>
                  <a:pt x="2123185" y="6331967"/>
                  <a:pt x="2124989" y="6328793"/>
                  <a:pt x="2127427" y="6326999"/>
                </a:cubicBezTo>
                <a:cubicBezTo>
                  <a:pt x="2129866" y="6325206"/>
                  <a:pt x="2133645" y="6324309"/>
                  <a:pt x="2138764" y="6324309"/>
                </a:cubicBezTo>
                <a:cubicBezTo>
                  <a:pt x="2144246" y="6324309"/>
                  <a:pt x="2148377" y="6325538"/>
                  <a:pt x="2151159" y="6327997"/>
                </a:cubicBezTo>
                <a:cubicBezTo>
                  <a:pt x="2153214" y="6329811"/>
                  <a:pt x="2154242" y="6332935"/>
                  <a:pt x="2154242" y="6337369"/>
                </a:cubicBezTo>
                <a:cubicBezTo>
                  <a:pt x="2154242" y="6337772"/>
                  <a:pt x="2154222" y="6338719"/>
                  <a:pt x="2154182" y="6340210"/>
                </a:cubicBezTo>
                <a:cubicBezTo>
                  <a:pt x="2150030" y="6341661"/>
                  <a:pt x="2143560" y="6342911"/>
                  <a:pt x="2134773" y="6343959"/>
                </a:cubicBezTo>
                <a:cubicBezTo>
                  <a:pt x="2130460" y="6344483"/>
                  <a:pt x="2127236" y="6345027"/>
                  <a:pt x="2125100" y="6345591"/>
                </a:cubicBezTo>
                <a:cubicBezTo>
                  <a:pt x="2122197" y="6346397"/>
                  <a:pt x="2119587" y="6347587"/>
                  <a:pt x="2117270" y="6349159"/>
                </a:cubicBezTo>
                <a:cubicBezTo>
                  <a:pt x="2114952" y="6350731"/>
                  <a:pt x="2113078" y="6352816"/>
                  <a:pt x="2111647" y="6355416"/>
                </a:cubicBezTo>
                <a:cubicBezTo>
                  <a:pt x="2110216" y="6358016"/>
                  <a:pt x="2109500" y="6360888"/>
                  <a:pt x="2109500" y="6364032"/>
                </a:cubicBezTo>
                <a:cubicBezTo>
                  <a:pt x="2109500" y="6369393"/>
                  <a:pt x="2111395" y="6373797"/>
                  <a:pt x="2115184" y="6377243"/>
                </a:cubicBezTo>
                <a:cubicBezTo>
                  <a:pt x="2118973" y="6380689"/>
                  <a:pt x="2124394" y="6382412"/>
                  <a:pt x="2131448" y="6382412"/>
                </a:cubicBezTo>
                <a:cubicBezTo>
                  <a:pt x="2135721" y="6382412"/>
                  <a:pt x="2139721" y="6381707"/>
                  <a:pt x="2143450" y="6380296"/>
                </a:cubicBezTo>
                <a:cubicBezTo>
                  <a:pt x="2147178" y="6378885"/>
                  <a:pt x="2151058" y="6376467"/>
                  <a:pt x="2155089" y="6373041"/>
                </a:cubicBezTo>
                <a:cubicBezTo>
                  <a:pt x="2155411" y="6376064"/>
                  <a:pt x="2156136" y="6378704"/>
                  <a:pt x="2157265" y="6380961"/>
                </a:cubicBezTo>
                <a:lnTo>
                  <a:pt x="2168632" y="6380961"/>
                </a:lnTo>
                <a:cubicBezTo>
                  <a:pt x="2167261" y="6378502"/>
                  <a:pt x="2166344" y="6375933"/>
                  <a:pt x="2165881" y="6373252"/>
                </a:cubicBezTo>
                <a:cubicBezTo>
                  <a:pt x="2165417" y="6370572"/>
                  <a:pt x="2165185" y="6364173"/>
                  <a:pt x="2165185" y="6354056"/>
                </a:cubicBezTo>
                <a:lnTo>
                  <a:pt x="2165185" y="6339545"/>
                </a:lnTo>
                <a:cubicBezTo>
                  <a:pt x="2165185" y="6334708"/>
                  <a:pt x="2165004" y="6331363"/>
                  <a:pt x="2164641" y="6329509"/>
                </a:cubicBezTo>
                <a:cubicBezTo>
                  <a:pt x="2163996" y="6326526"/>
                  <a:pt x="2162868" y="6324057"/>
                  <a:pt x="2161255" y="6322102"/>
                </a:cubicBezTo>
                <a:cubicBezTo>
                  <a:pt x="2159643" y="6320147"/>
                  <a:pt x="2157124" y="6318525"/>
                  <a:pt x="2153698" y="6317235"/>
                </a:cubicBezTo>
                <a:cubicBezTo>
                  <a:pt x="2150272" y="6315945"/>
                  <a:pt x="2145818" y="6315300"/>
                  <a:pt x="2140336" y="6315300"/>
                </a:cubicBezTo>
                <a:close/>
                <a:moveTo>
                  <a:pt x="2076744" y="6315300"/>
                </a:moveTo>
                <a:cubicBezTo>
                  <a:pt x="2067836" y="6315300"/>
                  <a:pt x="2061024" y="6318827"/>
                  <a:pt x="2056309" y="6325881"/>
                </a:cubicBezTo>
                <a:lnTo>
                  <a:pt x="2056309" y="6316751"/>
                </a:lnTo>
                <a:lnTo>
                  <a:pt x="2046514" y="6316751"/>
                </a:lnTo>
                <a:lnTo>
                  <a:pt x="2046514" y="6380961"/>
                </a:lnTo>
                <a:lnTo>
                  <a:pt x="2057397" y="6380961"/>
                </a:lnTo>
                <a:lnTo>
                  <a:pt x="2057397" y="6345894"/>
                </a:lnTo>
                <a:cubicBezTo>
                  <a:pt x="2057397" y="6337671"/>
                  <a:pt x="2059079" y="6332088"/>
                  <a:pt x="2062445" y="6329146"/>
                </a:cubicBezTo>
                <a:cubicBezTo>
                  <a:pt x="2065811" y="6326203"/>
                  <a:pt x="2069811" y="6324732"/>
                  <a:pt x="2074447" y="6324732"/>
                </a:cubicBezTo>
                <a:cubicBezTo>
                  <a:pt x="2077349" y="6324732"/>
                  <a:pt x="2079878" y="6325387"/>
                  <a:pt x="2082035" y="6326697"/>
                </a:cubicBezTo>
                <a:cubicBezTo>
                  <a:pt x="2084191" y="6328007"/>
                  <a:pt x="2085692" y="6329761"/>
                  <a:pt x="2086539" y="6331957"/>
                </a:cubicBezTo>
                <a:cubicBezTo>
                  <a:pt x="2087385" y="6334154"/>
                  <a:pt x="2087809" y="6337469"/>
                  <a:pt x="2087809" y="6341903"/>
                </a:cubicBezTo>
                <a:lnTo>
                  <a:pt x="2087809" y="6380961"/>
                </a:lnTo>
                <a:lnTo>
                  <a:pt x="2098692" y="6380961"/>
                </a:lnTo>
                <a:lnTo>
                  <a:pt x="2098692" y="6341480"/>
                </a:lnTo>
                <a:cubicBezTo>
                  <a:pt x="2098692" y="6336441"/>
                  <a:pt x="2098490" y="6332915"/>
                  <a:pt x="2098087" y="6330899"/>
                </a:cubicBezTo>
                <a:cubicBezTo>
                  <a:pt x="2097442" y="6327796"/>
                  <a:pt x="2096314" y="6325115"/>
                  <a:pt x="2094702" y="6322858"/>
                </a:cubicBezTo>
                <a:cubicBezTo>
                  <a:pt x="2093089" y="6320601"/>
                  <a:pt x="2090661" y="6318777"/>
                  <a:pt x="2087416" y="6317386"/>
                </a:cubicBezTo>
                <a:cubicBezTo>
                  <a:pt x="2084171" y="6315995"/>
                  <a:pt x="2080614" y="6315300"/>
                  <a:pt x="2076744" y="6315300"/>
                </a:cubicBezTo>
                <a:close/>
                <a:moveTo>
                  <a:pt x="2010069" y="6315300"/>
                </a:moveTo>
                <a:cubicBezTo>
                  <a:pt x="2001161" y="6315300"/>
                  <a:pt x="1994349" y="6318827"/>
                  <a:pt x="1989633" y="6325881"/>
                </a:cubicBezTo>
                <a:lnTo>
                  <a:pt x="1989633" y="6316751"/>
                </a:lnTo>
                <a:lnTo>
                  <a:pt x="1979839" y="6316751"/>
                </a:lnTo>
                <a:lnTo>
                  <a:pt x="1979839" y="6380961"/>
                </a:lnTo>
                <a:lnTo>
                  <a:pt x="1990722" y="6380961"/>
                </a:lnTo>
                <a:lnTo>
                  <a:pt x="1990722" y="6345894"/>
                </a:lnTo>
                <a:cubicBezTo>
                  <a:pt x="1990722" y="6337671"/>
                  <a:pt x="1992405" y="6332088"/>
                  <a:pt x="1995770" y="6329146"/>
                </a:cubicBezTo>
                <a:cubicBezTo>
                  <a:pt x="1999136" y="6326203"/>
                  <a:pt x="2003136" y="6324732"/>
                  <a:pt x="2007772" y="6324732"/>
                </a:cubicBezTo>
                <a:cubicBezTo>
                  <a:pt x="2010674" y="6324732"/>
                  <a:pt x="2013203" y="6325387"/>
                  <a:pt x="2015360" y="6326697"/>
                </a:cubicBezTo>
                <a:cubicBezTo>
                  <a:pt x="2017516" y="6328007"/>
                  <a:pt x="2019018" y="6329761"/>
                  <a:pt x="2019864" y="6331957"/>
                </a:cubicBezTo>
                <a:cubicBezTo>
                  <a:pt x="2020710" y="6334154"/>
                  <a:pt x="2021134" y="6337469"/>
                  <a:pt x="2021134" y="6341903"/>
                </a:cubicBezTo>
                <a:lnTo>
                  <a:pt x="2021134" y="6380961"/>
                </a:lnTo>
                <a:lnTo>
                  <a:pt x="2032017" y="6380961"/>
                </a:lnTo>
                <a:lnTo>
                  <a:pt x="2032017" y="6341480"/>
                </a:lnTo>
                <a:cubicBezTo>
                  <a:pt x="2032017" y="6336441"/>
                  <a:pt x="2031815" y="6332915"/>
                  <a:pt x="2031412" y="6330899"/>
                </a:cubicBezTo>
                <a:cubicBezTo>
                  <a:pt x="2030767" y="6327796"/>
                  <a:pt x="2029639" y="6325115"/>
                  <a:pt x="2028026" y="6322858"/>
                </a:cubicBezTo>
                <a:cubicBezTo>
                  <a:pt x="2026414" y="6320601"/>
                  <a:pt x="2023985" y="6318777"/>
                  <a:pt x="2020741" y="6317386"/>
                </a:cubicBezTo>
                <a:cubicBezTo>
                  <a:pt x="2017496" y="6315995"/>
                  <a:pt x="2013939" y="6315300"/>
                  <a:pt x="2010069" y="6315300"/>
                </a:cubicBezTo>
                <a:close/>
                <a:moveTo>
                  <a:pt x="1939525" y="6315300"/>
                </a:moveTo>
                <a:cubicBezTo>
                  <a:pt x="1930657" y="6315300"/>
                  <a:pt x="1923442" y="6318283"/>
                  <a:pt x="1917880" y="6324248"/>
                </a:cubicBezTo>
                <a:cubicBezTo>
                  <a:pt x="1912317" y="6330214"/>
                  <a:pt x="1909536" y="6338598"/>
                  <a:pt x="1909536" y="6349400"/>
                </a:cubicBezTo>
                <a:cubicBezTo>
                  <a:pt x="1909536" y="6359840"/>
                  <a:pt x="1912287" y="6367952"/>
                  <a:pt x="1917789" y="6373736"/>
                </a:cubicBezTo>
                <a:cubicBezTo>
                  <a:pt x="1923291" y="6379520"/>
                  <a:pt x="1930738" y="6382412"/>
                  <a:pt x="1940129" y="6382412"/>
                </a:cubicBezTo>
                <a:cubicBezTo>
                  <a:pt x="1947586" y="6382412"/>
                  <a:pt x="1953713" y="6380598"/>
                  <a:pt x="1958510" y="6376971"/>
                </a:cubicBezTo>
                <a:cubicBezTo>
                  <a:pt x="1963306" y="6373343"/>
                  <a:pt x="1966591" y="6368244"/>
                  <a:pt x="1968365" y="6361674"/>
                </a:cubicBezTo>
                <a:lnTo>
                  <a:pt x="1957119" y="6360283"/>
                </a:lnTo>
                <a:cubicBezTo>
                  <a:pt x="1955466" y="6364879"/>
                  <a:pt x="1953229" y="6368224"/>
                  <a:pt x="1950408" y="6370320"/>
                </a:cubicBezTo>
                <a:cubicBezTo>
                  <a:pt x="1947586" y="6372416"/>
                  <a:pt x="1944180" y="6373464"/>
                  <a:pt x="1940190" y="6373464"/>
                </a:cubicBezTo>
                <a:cubicBezTo>
                  <a:pt x="1934829" y="6373464"/>
                  <a:pt x="1930355" y="6371590"/>
                  <a:pt x="1926767" y="6367841"/>
                </a:cubicBezTo>
                <a:cubicBezTo>
                  <a:pt x="1923180" y="6364093"/>
                  <a:pt x="1921185" y="6358691"/>
                  <a:pt x="1920782" y="6351637"/>
                </a:cubicBezTo>
                <a:lnTo>
                  <a:pt x="1968667" y="6351637"/>
                </a:lnTo>
                <a:cubicBezTo>
                  <a:pt x="1968707" y="6350348"/>
                  <a:pt x="1968728" y="6349380"/>
                  <a:pt x="1968728" y="6348735"/>
                </a:cubicBezTo>
                <a:cubicBezTo>
                  <a:pt x="1968728" y="6338134"/>
                  <a:pt x="1966007" y="6329912"/>
                  <a:pt x="1960565" y="6324067"/>
                </a:cubicBezTo>
                <a:cubicBezTo>
                  <a:pt x="1955124" y="6318222"/>
                  <a:pt x="1948110" y="6315300"/>
                  <a:pt x="1939525" y="6315300"/>
                </a:cubicBezTo>
                <a:close/>
                <a:moveTo>
                  <a:pt x="1805752" y="6315300"/>
                </a:moveTo>
                <a:cubicBezTo>
                  <a:pt x="1800230" y="6315300"/>
                  <a:pt x="1795120" y="6316600"/>
                  <a:pt x="1790425" y="6319200"/>
                </a:cubicBezTo>
                <a:cubicBezTo>
                  <a:pt x="1785729" y="6321800"/>
                  <a:pt x="1782232" y="6325700"/>
                  <a:pt x="1779935" y="6330899"/>
                </a:cubicBezTo>
                <a:cubicBezTo>
                  <a:pt x="1777637" y="6336099"/>
                  <a:pt x="1776488" y="6342165"/>
                  <a:pt x="1776488" y="6349098"/>
                </a:cubicBezTo>
                <a:cubicBezTo>
                  <a:pt x="1776488" y="6359820"/>
                  <a:pt x="1779159" y="6368053"/>
                  <a:pt x="1784499" y="6373797"/>
                </a:cubicBezTo>
                <a:cubicBezTo>
                  <a:pt x="1789840" y="6379540"/>
                  <a:pt x="1796904" y="6382412"/>
                  <a:pt x="1805691" y="6382412"/>
                </a:cubicBezTo>
                <a:cubicBezTo>
                  <a:pt x="1812705" y="6382412"/>
                  <a:pt x="1818620" y="6380326"/>
                  <a:pt x="1823437" y="6376155"/>
                </a:cubicBezTo>
                <a:cubicBezTo>
                  <a:pt x="1828253" y="6371983"/>
                  <a:pt x="1831246" y="6366209"/>
                  <a:pt x="1832415" y="6358832"/>
                </a:cubicBezTo>
                <a:lnTo>
                  <a:pt x="1821714" y="6357442"/>
                </a:lnTo>
                <a:cubicBezTo>
                  <a:pt x="1820948" y="6362883"/>
                  <a:pt x="1819134" y="6366914"/>
                  <a:pt x="1816272" y="6369534"/>
                </a:cubicBezTo>
                <a:cubicBezTo>
                  <a:pt x="1813410" y="6372154"/>
                  <a:pt x="1809843" y="6373464"/>
                  <a:pt x="1805570" y="6373464"/>
                </a:cubicBezTo>
                <a:cubicBezTo>
                  <a:pt x="1800250" y="6373464"/>
                  <a:pt x="1795937" y="6371509"/>
                  <a:pt x="1792632" y="6367599"/>
                </a:cubicBezTo>
                <a:cubicBezTo>
                  <a:pt x="1789326" y="6363689"/>
                  <a:pt x="1787674" y="6357422"/>
                  <a:pt x="1787674" y="6348796"/>
                </a:cubicBezTo>
                <a:cubicBezTo>
                  <a:pt x="1787674" y="6340291"/>
                  <a:pt x="1789387" y="6334073"/>
                  <a:pt x="1792813" y="6330143"/>
                </a:cubicBezTo>
                <a:cubicBezTo>
                  <a:pt x="1796239" y="6326213"/>
                  <a:pt x="1800693" y="6324248"/>
                  <a:pt x="1806175" y="6324248"/>
                </a:cubicBezTo>
                <a:cubicBezTo>
                  <a:pt x="1809803" y="6324248"/>
                  <a:pt x="1812896" y="6325337"/>
                  <a:pt x="1815456" y="6327513"/>
                </a:cubicBezTo>
                <a:cubicBezTo>
                  <a:pt x="1818015" y="6329690"/>
                  <a:pt x="1819799" y="6332935"/>
                  <a:pt x="1820806" y="6337248"/>
                </a:cubicBezTo>
                <a:lnTo>
                  <a:pt x="1831387" y="6335615"/>
                </a:lnTo>
                <a:cubicBezTo>
                  <a:pt x="1830138" y="6329126"/>
                  <a:pt x="1827296" y="6324117"/>
                  <a:pt x="1822862" y="6320591"/>
                </a:cubicBezTo>
                <a:cubicBezTo>
                  <a:pt x="1818428" y="6317064"/>
                  <a:pt x="1812725" y="6315300"/>
                  <a:pt x="1805752" y="6315300"/>
                </a:cubicBezTo>
                <a:close/>
                <a:moveTo>
                  <a:pt x="1515165" y="6315300"/>
                </a:moveTo>
                <a:cubicBezTo>
                  <a:pt x="1511819" y="6315300"/>
                  <a:pt x="1508685" y="6315733"/>
                  <a:pt x="1505763" y="6316600"/>
                </a:cubicBezTo>
                <a:cubicBezTo>
                  <a:pt x="1502840" y="6317467"/>
                  <a:pt x="1500533" y="6318525"/>
                  <a:pt x="1498840" y="6319774"/>
                </a:cubicBezTo>
                <a:cubicBezTo>
                  <a:pt x="1496583" y="6321387"/>
                  <a:pt x="1494799" y="6323412"/>
                  <a:pt x="1493489" y="6325851"/>
                </a:cubicBezTo>
                <a:cubicBezTo>
                  <a:pt x="1492179" y="6328289"/>
                  <a:pt x="1491524" y="6330939"/>
                  <a:pt x="1491524" y="6333801"/>
                </a:cubicBezTo>
                <a:cubicBezTo>
                  <a:pt x="1491524" y="6336945"/>
                  <a:pt x="1492320" y="6339817"/>
                  <a:pt x="1493913" y="6342417"/>
                </a:cubicBezTo>
                <a:cubicBezTo>
                  <a:pt x="1495505" y="6345017"/>
                  <a:pt x="1497843" y="6347052"/>
                  <a:pt x="1500926" y="6348524"/>
                </a:cubicBezTo>
                <a:cubicBezTo>
                  <a:pt x="1504009" y="6349995"/>
                  <a:pt x="1509542" y="6351738"/>
                  <a:pt x="1517523" y="6353754"/>
                </a:cubicBezTo>
                <a:cubicBezTo>
                  <a:pt x="1523448" y="6355245"/>
                  <a:pt x="1527156" y="6356474"/>
                  <a:pt x="1528648" y="6357442"/>
                </a:cubicBezTo>
                <a:cubicBezTo>
                  <a:pt x="1530784" y="6358853"/>
                  <a:pt x="1531852" y="6360787"/>
                  <a:pt x="1531852" y="6363246"/>
                </a:cubicBezTo>
                <a:cubicBezTo>
                  <a:pt x="1531852" y="6365987"/>
                  <a:pt x="1530643" y="6368375"/>
                  <a:pt x="1528224" y="6370411"/>
                </a:cubicBezTo>
                <a:cubicBezTo>
                  <a:pt x="1525806" y="6372446"/>
                  <a:pt x="1522097" y="6373464"/>
                  <a:pt x="1517100" y="6373464"/>
                </a:cubicBezTo>
                <a:cubicBezTo>
                  <a:pt x="1512141" y="6373464"/>
                  <a:pt x="1508282" y="6372315"/>
                  <a:pt x="1505521" y="6370018"/>
                </a:cubicBezTo>
                <a:cubicBezTo>
                  <a:pt x="1502760" y="6367720"/>
                  <a:pt x="1501077" y="6364415"/>
                  <a:pt x="1500472" y="6360102"/>
                </a:cubicBezTo>
                <a:lnTo>
                  <a:pt x="1489710" y="6361795"/>
                </a:lnTo>
                <a:cubicBezTo>
                  <a:pt x="1490920" y="6368607"/>
                  <a:pt x="1493711" y="6373746"/>
                  <a:pt x="1498084" y="6377213"/>
                </a:cubicBezTo>
                <a:cubicBezTo>
                  <a:pt x="1502458" y="6380679"/>
                  <a:pt x="1508816" y="6382412"/>
                  <a:pt x="1517160" y="6382412"/>
                </a:cubicBezTo>
                <a:cubicBezTo>
                  <a:pt x="1522198" y="6382412"/>
                  <a:pt x="1526713" y="6381536"/>
                  <a:pt x="1530703" y="6379782"/>
                </a:cubicBezTo>
                <a:cubicBezTo>
                  <a:pt x="1534694" y="6378029"/>
                  <a:pt x="1537747" y="6375550"/>
                  <a:pt x="1539863" y="6372345"/>
                </a:cubicBezTo>
                <a:cubicBezTo>
                  <a:pt x="1541979" y="6369141"/>
                  <a:pt x="1543037" y="6365725"/>
                  <a:pt x="1543037" y="6362097"/>
                </a:cubicBezTo>
                <a:cubicBezTo>
                  <a:pt x="1543037" y="6358389"/>
                  <a:pt x="1542171" y="6355285"/>
                  <a:pt x="1540437" y="6352786"/>
                </a:cubicBezTo>
                <a:cubicBezTo>
                  <a:pt x="1538704" y="6350287"/>
                  <a:pt x="1536316" y="6348383"/>
                  <a:pt x="1533273" y="6347073"/>
                </a:cubicBezTo>
                <a:cubicBezTo>
                  <a:pt x="1530230" y="6345763"/>
                  <a:pt x="1524859" y="6344080"/>
                  <a:pt x="1517160" y="6342024"/>
                </a:cubicBezTo>
                <a:cubicBezTo>
                  <a:pt x="1511839" y="6340573"/>
                  <a:pt x="1508635" y="6339646"/>
                  <a:pt x="1507547" y="6339243"/>
                </a:cubicBezTo>
                <a:cubicBezTo>
                  <a:pt x="1505652" y="6338477"/>
                  <a:pt x="1504261" y="6337510"/>
                  <a:pt x="1503375" y="6336341"/>
                </a:cubicBezTo>
                <a:cubicBezTo>
                  <a:pt x="1502488" y="6335212"/>
                  <a:pt x="1502044" y="6333942"/>
                  <a:pt x="1502044" y="6332532"/>
                </a:cubicBezTo>
                <a:cubicBezTo>
                  <a:pt x="1502044" y="6330315"/>
                  <a:pt x="1503113" y="6328380"/>
                  <a:pt x="1505249" y="6326727"/>
                </a:cubicBezTo>
                <a:cubicBezTo>
                  <a:pt x="1507385" y="6325075"/>
                  <a:pt x="1510953" y="6324248"/>
                  <a:pt x="1515951" y="6324248"/>
                </a:cubicBezTo>
                <a:cubicBezTo>
                  <a:pt x="1520183" y="6324248"/>
                  <a:pt x="1523458" y="6325176"/>
                  <a:pt x="1525776" y="6327030"/>
                </a:cubicBezTo>
                <a:cubicBezTo>
                  <a:pt x="1528093" y="6328884"/>
                  <a:pt x="1529494" y="6331463"/>
                  <a:pt x="1529978" y="6334769"/>
                </a:cubicBezTo>
                <a:lnTo>
                  <a:pt x="1540619" y="6333318"/>
                </a:lnTo>
                <a:cubicBezTo>
                  <a:pt x="1539934" y="6329166"/>
                  <a:pt x="1538684" y="6325851"/>
                  <a:pt x="1536870" y="6323372"/>
                </a:cubicBezTo>
                <a:cubicBezTo>
                  <a:pt x="1535056" y="6320893"/>
                  <a:pt x="1532245" y="6318928"/>
                  <a:pt x="1528436" y="6317477"/>
                </a:cubicBezTo>
                <a:cubicBezTo>
                  <a:pt x="1524627" y="6316026"/>
                  <a:pt x="1520203" y="6315300"/>
                  <a:pt x="1515165" y="6315300"/>
                </a:cubicBezTo>
                <a:close/>
                <a:moveTo>
                  <a:pt x="1479544" y="6315300"/>
                </a:moveTo>
                <a:cubicBezTo>
                  <a:pt x="1477004" y="6315300"/>
                  <a:pt x="1474676" y="6316026"/>
                  <a:pt x="1472560" y="6317477"/>
                </a:cubicBezTo>
                <a:cubicBezTo>
                  <a:pt x="1470444" y="6318928"/>
                  <a:pt x="1468136" y="6321931"/>
                  <a:pt x="1465638" y="6326486"/>
                </a:cubicBezTo>
                <a:lnTo>
                  <a:pt x="1465638" y="6316751"/>
                </a:lnTo>
                <a:lnTo>
                  <a:pt x="1455843" y="6316751"/>
                </a:lnTo>
                <a:lnTo>
                  <a:pt x="1455843" y="6380961"/>
                </a:lnTo>
                <a:lnTo>
                  <a:pt x="1466726" y="6380961"/>
                </a:lnTo>
                <a:lnTo>
                  <a:pt x="1466726" y="6347345"/>
                </a:lnTo>
                <a:cubicBezTo>
                  <a:pt x="1466726" y="6342750"/>
                  <a:pt x="1467330" y="6338517"/>
                  <a:pt x="1468540" y="6334648"/>
                </a:cubicBezTo>
                <a:cubicBezTo>
                  <a:pt x="1469346" y="6332108"/>
                  <a:pt x="1470696" y="6330123"/>
                  <a:pt x="1472590" y="6328692"/>
                </a:cubicBezTo>
                <a:cubicBezTo>
                  <a:pt x="1474485" y="6327261"/>
                  <a:pt x="1476621" y="6326546"/>
                  <a:pt x="1479000" y="6326546"/>
                </a:cubicBezTo>
                <a:cubicBezTo>
                  <a:pt x="1481660" y="6326546"/>
                  <a:pt x="1484320" y="6327332"/>
                  <a:pt x="1486980" y="6328904"/>
                </a:cubicBezTo>
                <a:lnTo>
                  <a:pt x="1490729" y="6318807"/>
                </a:lnTo>
                <a:cubicBezTo>
                  <a:pt x="1486940" y="6316469"/>
                  <a:pt x="1483212" y="6315300"/>
                  <a:pt x="1479544" y="6315300"/>
                </a:cubicBezTo>
                <a:close/>
                <a:moveTo>
                  <a:pt x="1416436" y="6315300"/>
                </a:moveTo>
                <a:cubicBezTo>
                  <a:pt x="1410914" y="6315300"/>
                  <a:pt x="1406057" y="6316056"/>
                  <a:pt x="1401865" y="6317567"/>
                </a:cubicBezTo>
                <a:cubicBezTo>
                  <a:pt x="1397673" y="6319079"/>
                  <a:pt x="1394468" y="6321235"/>
                  <a:pt x="1392251" y="6324037"/>
                </a:cubicBezTo>
                <a:cubicBezTo>
                  <a:pt x="1390034" y="6326838"/>
                  <a:pt x="1388442" y="6330516"/>
                  <a:pt x="1387475" y="6335071"/>
                </a:cubicBezTo>
                <a:lnTo>
                  <a:pt x="1398116" y="6336522"/>
                </a:lnTo>
                <a:cubicBezTo>
                  <a:pt x="1399285" y="6331967"/>
                  <a:pt x="1401089" y="6328793"/>
                  <a:pt x="1403527" y="6326999"/>
                </a:cubicBezTo>
                <a:cubicBezTo>
                  <a:pt x="1405966" y="6325206"/>
                  <a:pt x="1409745" y="6324309"/>
                  <a:pt x="1414864" y="6324309"/>
                </a:cubicBezTo>
                <a:cubicBezTo>
                  <a:pt x="1420345" y="6324309"/>
                  <a:pt x="1424477" y="6325538"/>
                  <a:pt x="1427258" y="6327997"/>
                </a:cubicBezTo>
                <a:cubicBezTo>
                  <a:pt x="1429314" y="6329811"/>
                  <a:pt x="1430342" y="6332935"/>
                  <a:pt x="1430342" y="6337369"/>
                </a:cubicBezTo>
                <a:cubicBezTo>
                  <a:pt x="1430342" y="6337772"/>
                  <a:pt x="1430322" y="6338719"/>
                  <a:pt x="1430281" y="6340210"/>
                </a:cubicBezTo>
                <a:cubicBezTo>
                  <a:pt x="1426130" y="6341661"/>
                  <a:pt x="1419660" y="6342911"/>
                  <a:pt x="1410873" y="6343959"/>
                </a:cubicBezTo>
                <a:cubicBezTo>
                  <a:pt x="1406561" y="6344483"/>
                  <a:pt x="1403336" y="6345027"/>
                  <a:pt x="1401199" y="6345591"/>
                </a:cubicBezTo>
                <a:cubicBezTo>
                  <a:pt x="1398297" y="6346397"/>
                  <a:pt x="1395687" y="6347587"/>
                  <a:pt x="1393370" y="6349159"/>
                </a:cubicBezTo>
                <a:cubicBezTo>
                  <a:pt x="1391052" y="6350731"/>
                  <a:pt x="1389178" y="6352816"/>
                  <a:pt x="1387747" y="6355416"/>
                </a:cubicBezTo>
                <a:cubicBezTo>
                  <a:pt x="1386316" y="6358016"/>
                  <a:pt x="1385600" y="6360888"/>
                  <a:pt x="1385600" y="6364032"/>
                </a:cubicBezTo>
                <a:cubicBezTo>
                  <a:pt x="1385600" y="6369393"/>
                  <a:pt x="1387495" y="6373797"/>
                  <a:pt x="1391284" y="6377243"/>
                </a:cubicBezTo>
                <a:cubicBezTo>
                  <a:pt x="1395073" y="6380689"/>
                  <a:pt x="1400494" y="6382412"/>
                  <a:pt x="1407548" y="6382412"/>
                </a:cubicBezTo>
                <a:cubicBezTo>
                  <a:pt x="1411821" y="6382412"/>
                  <a:pt x="1415821" y="6381707"/>
                  <a:pt x="1419550" y="6380296"/>
                </a:cubicBezTo>
                <a:cubicBezTo>
                  <a:pt x="1423278" y="6378885"/>
                  <a:pt x="1427158" y="6376467"/>
                  <a:pt x="1431188" y="6373041"/>
                </a:cubicBezTo>
                <a:cubicBezTo>
                  <a:pt x="1431511" y="6376064"/>
                  <a:pt x="1432236" y="6378704"/>
                  <a:pt x="1433365" y="6380961"/>
                </a:cubicBezTo>
                <a:lnTo>
                  <a:pt x="1444732" y="6380961"/>
                </a:lnTo>
                <a:cubicBezTo>
                  <a:pt x="1443361" y="6378502"/>
                  <a:pt x="1442444" y="6375933"/>
                  <a:pt x="1441981" y="6373252"/>
                </a:cubicBezTo>
                <a:cubicBezTo>
                  <a:pt x="1441517" y="6370572"/>
                  <a:pt x="1441285" y="6364173"/>
                  <a:pt x="1441285" y="6354056"/>
                </a:cubicBezTo>
                <a:lnTo>
                  <a:pt x="1441285" y="6339545"/>
                </a:lnTo>
                <a:cubicBezTo>
                  <a:pt x="1441285" y="6334708"/>
                  <a:pt x="1441104" y="6331363"/>
                  <a:pt x="1440741" y="6329509"/>
                </a:cubicBezTo>
                <a:cubicBezTo>
                  <a:pt x="1440096" y="6326526"/>
                  <a:pt x="1438968" y="6324057"/>
                  <a:pt x="1437355" y="6322102"/>
                </a:cubicBezTo>
                <a:cubicBezTo>
                  <a:pt x="1435743" y="6320147"/>
                  <a:pt x="1433224" y="6318525"/>
                  <a:pt x="1429798" y="6317235"/>
                </a:cubicBezTo>
                <a:cubicBezTo>
                  <a:pt x="1426372" y="6315945"/>
                  <a:pt x="1421917" y="6315300"/>
                  <a:pt x="1416436" y="6315300"/>
                </a:cubicBezTo>
                <a:close/>
                <a:moveTo>
                  <a:pt x="1167698" y="6315300"/>
                </a:moveTo>
                <a:cubicBezTo>
                  <a:pt x="1159757" y="6315300"/>
                  <a:pt x="1153026" y="6317678"/>
                  <a:pt x="1147503" y="6322435"/>
                </a:cubicBezTo>
                <a:cubicBezTo>
                  <a:pt x="1140893" y="6328158"/>
                  <a:pt x="1137588" y="6336965"/>
                  <a:pt x="1137588" y="6348856"/>
                </a:cubicBezTo>
                <a:cubicBezTo>
                  <a:pt x="1137588" y="6359699"/>
                  <a:pt x="1140359" y="6368002"/>
                  <a:pt x="1145901" y="6373766"/>
                </a:cubicBezTo>
                <a:cubicBezTo>
                  <a:pt x="1151443" y="6379530"/>
                  <a:pt x="1158709" y="6382412"/>
                  <a:pt x="1167698" y="6382412"/>
                </a:cubicBezTo>
                <a:cubicBezTo>
                  <a:pt x="1173300" y="6382412"/>
                  <a:pt x="1178470" y="6381102"/>
                  <a:pt x="1183206" y="6378482"/>
                </a:cubicBezTo>
                <a:cubicBezTo>
                  <a:pt x="1187942" y="6375862"/>
                  <a:pt x="1191550" y="6372184"/>
                  <a:pt x="1194028" y="6367448"/>
                </a:cubicBezTo>
                <a:cubicBezTo>
                  <a:pt x="1196507" y="6362712"/>
                  <a:pt x="1197747" y="6356212"/>
                  <a:pt x="1197747" y="6347949"/>
                </a:cubicBezTo>
                <a:cubicBezTo>
                  <a:pt x="1197747" y="6337751"/>
                  <a:pt x="1194945" y="6329761"/>
                  <a:pt x="1189343" y="6323976"/>
                </a:cubicBezTo>
                <a:cubicBezTo>
                  <a:pt x="1183740" y="6318192"/>
                  <a:pt x="1176525" y="6315300"/>
                  <a:pt x="1167698" y="6315300"/>
                </a:cubicBezTo>
                <a:close/>
                <a:moveTo>
                  <a:pt x="1057965" y="6315300"/>
                </a:moveTo>
                <a:cubicBezTo>
                  <a:pt x="1054619" y="6315300"/>
                  <a:pt x="1051485" y="6315733"/>
                  <a:pt x="1048563" y="6316600"/>
                </a:cubicBezTo>
                <a:cubicBezTo>
                  <a:pt x="1045641" y="6317467"/>
                  <a:pt x="1043333" y="6318525"/>
                  <a:pt x="1041640" y="6319774"/>
                </a:cubicBezTo>
                <a:cubicBezTo>
                  <a:pt x="1039383" y="6321387"/>
                  <a:pt x="1037599" y="6323412"/>
                  <a:pt x="1036289" y="6325851"/>
                </a:cubicBezTo>
                <a:cubicBezTo>
                  <a:pt x="1034979" y="6328289"/>
                  <a:pt x="1034324" y="6330939"/>
                  <a:pt x="1034324" y="6333801"/>
                </a:cubicBezTo>
                <a:cubicBezTo>
                  <a:pt x="1034324" y="6336945"/>
                  <a:pt x="1035120" y="6339817"/>
                  <a:pt x="1036712" y="6342417"/>
                </a:cubicBezTo>
                <a:cubicBezTo>
                  <a:pt x="1038304" y="6345017"/>
                  <a:pt x="1040642" y="6347052"/>
                  <a:pt x="1043726" y="6348524"/>
                </a:cubicBezTo>
                <a:cubicBezTo>
                  <a:pt x="1046809" y="6349995"/>
                  <a:pt x="1052342" y="6351738"/>
                  <a:pt x="1060323" y="6353754"/>
                </a:cubicBezTo>
                <a:cubicBezTo>
                  <a:pt x="1066248" y="6355245"/>
                  <a:pt x="1069956" y="6356474"/>
                  <a:pt x="1071447" y="6357442"/>
                </a:cubicBezTo>
                <a:cubicBezTo>
                  <a:pt x="1073584" y="6358853"/>
                  <a:pt x="1074652" y="6360787"/>
                  <a:pt x="1074652" y="6363246"/>
                </a:cubicBezTo>
                <a:cubicBezTo>
                  <a:pt x="1074652" y="6365987"/>
                  <a:pt x="1073443" y="6368375"/>
                  <a:pt x="1071024" y="6370411"/>
                </a:cubicBezTo>
                <a:cubicBezTo>
                  <a:pt x="1068606" y="6372446"/>
                  <a:pt x="1064898" y="6373464"/>
                  <a:pt x="1059899" y="6373464"/>
                </a:cubicBezTo>
                <a:cubicBezTo>
                  <a:pt x="1054942" y="6373464"/>
                  <a:pt x="1051082" y="6372315"/>
                  <a:pt x="1048321" y="6370018"/>
                </a:cubicBezTo>
                <a:cubicBezTo>
                  <a:pt x="1045560" y="6367720"/>
                  <a:pt x="1043877" y="6364415"/>
                  <a:pt x="1043272" y="6360102"/>
                </a:cubicBezTo>
                <a:lnTo>
                  <a:pt x="1032510" y="6361795"/>
                </a:lnTo>
                <a:cubicBezTo>
                  <a:pt x="1033720" y="6368607"/>
                  <a:pt x="1036511" y="6373746"/>
                  <a:pt x="1040884" y="6377213"/>
                </a:cubicBezTo>
                <a:cubicBezTo>
                  <a:pt x="1045258" y="6380679"/>
                  <a:pt x="1051616" y="6382412"/>
                  <a:pt x="1059960" y="6382412"/>
                </a:cubicBezTo>
                <a:cubicBezTo>
                  <a:pt x="1064998" y="6382412"/>
                  <a:pt x="1069513" y="6381536"/>
                  <a:pt x="1073503" y="6379782"/>
                </a:cubicBezTo>
                <a:cubicBezTo>
                  <a:pt x="1077494" y="6378029"/>
                  <a:pt x="1080547" y="6375550"/>
                  <a:pt x="1082663" y="6372345"/>
                </a:cubicBezTo>
                <a:cubicBezTo>
                  <a:pt x="1084779" y="6369141"/>
                  <a:pt x="1085837" y="6365725"/>
                  <a:pt x="1085837" y="6362097"/>
                </a:cubicBezTo>
                <a:cubicBezTo>
                  <a:pt x="1085837" y="6358389"/>
                  <a:pt x="1084971" y="6355285"/>
                  <a:pt x="1083237" y="6352786"/>
                </a:cubicBezTo>
                <a:cubicBezTo>
                  <a:pt x="1081504" y="6350287"/>
                  <a:pt x="1079116" y="6348383"/>
                  <a:pt x="1076073" y="6347073"/>
                </a:cubicBezTo>
                <a:cubicBezTo>
                  <a:pt x="1073030" y="6345763"/>
                  <a:pt x="1067659" y="6344080"/>
                  <a:pt x="1059960" y="6342024"/>
                </a:cubicBezTo>
                <a:cubicBezTo>
                  <a:pt x="1054639" y="6340573"/>
                  <a:pt x="1051435" y="6339646"/>
                  <a:pt x="1050346" y="6339243"/>
                </a:cubicBezTo>
                <a:cubicBezTo>
                  <a:pt x="1048452" y="6338477"/>
                  <a:pt x="1047061" y="6337510"/>
                  <a:pt x="1046175" y="6336341"/>
                </a:cubicBezTo>
                <a:cubicBezTo>
                  <a:pt x="1045288" y="6335212"/>
                  <a:pt x="1044844" y="6333942"/>
                  <a:pt x="1044844" y="6332532"/>
                </a:cubicBezTo>
                <a:cubicBezTo>
                  <a:pt x="1044844" y="6330315"/>
                  <a:pt x="1045913" y="6328380"/>
                  <a:pt x="1048049" y="6326727"/>
                </a:cubicBezTo>
                <a:cubicBezTo>
                  <a:pt x="1050185" y="6325075"/>
                  <a:pt x="1053753" y="6324248"/>
                  <a:pt x="1058751" y="6324248"/>
                </a:cubicBezTo>
                <a:cubicBezTo>
                  <a:pt x="1062983" y="6324248"/>
                  <a:pt x="1066258" y="6325176"/>
                  <a:pt x="1068576" y="6327030"/>
                </a:cubicBezTo>
                <a:cubicBezTo>
                  <a:pt x="1070893" y="6328884"/>
                  <a:pt x="1072294" y="6331463"/>
                  <a:pt x="1072778" y="6334769"/>
                </a:cubicBezTo>
                <a:lnTo>
                  <a:pt x="1083419" y="6333318"/>
                </a:lnTo>
                <a:cubicBezTo>
                  <a:pt x="1082734" y="6329166"/>
                  <a:pt x="1081484" y="6325851"/>
                  <a:pt x="1079670" y="6323372"/>
                </a:cubicBezTo>
                <a:cubicBezTo>
                  <a:pt x="1077856" y="6320893"/>
                  <a:pt x="1075045" y="6318928"/>
                  <a:pt x="1071236" y="6317477"/>
                </a:cubicBezTo>
                <a:cubicBezTo>
                  <a:pt x="1067427" y="6316026"/>
                  <a:pt x="1063003" y="6315300"/>
                  <a:pt x="1057965" y="6315300"/>
                </a:cubicBezTo>
                <a:close/>
                <a:moveTo>
                  <a:pt x="991290" y="6315300"/>
                </a:moveTo>
                <a:cubicBezTo>
                  <a:pt x="987944" y="6315300"/>
                  <a:pt x="984810" y="6315733"/>
                  <a:pt x="981888" y="6316600"/>
                </a:cubicBezTo>
                <a:cubicBezTo>
                  <a:pt x="978965" y="6317467"/>
                  <a:pt x="976658" y="6318525"/>
                  <a:pt x="974965" y="6319774"/>
                </a:cubicBezTo>
                <a:cubicBezTo>
                  <a:pt x="972708" y="6321387"/>
                  <a:pt x="970924" y="6323412"/>
                  <a:pt x="969614" y="6325851"/>
                </a:cubicBezTo>
                <a:cubicBezTo>
                  <a:pt x="968304" y="6328289"/>
                  <a:pt x="967649" y="6330939"/>
                  <a:pt x="967649" y="6333801"/>
                </a:cubicBezTo>
                <a:cubicBezTo>
                  <a:pt x="967649" y="6336945"/>
                  <a:pt x="968445" y="6339817"/>
                  <a:pt x="970037" y="6342417"/>
                </a:cubicBezTo>
                <a:cubicBezTo>
                  <a:pt x="971630" y="6345017"/>
                  <a:pt x="973967" y="6347052"/>
                  <a:pt x="977051" y="6348524"/>
                </a:cubicBezTo>
                <a:cubicBezTo>
                  <a:pt x="980134" y="6349995"/>
                  <a:pt x="985667" y="6351738"/>
                  <a:pt x="993648" y="6353754"/>
                </a:cubicBezTo>
                <a:cubicBezTo>
                  <a:pt x="999573" y="6355245"/>
                  <a:pt x="1003281" y="6356474"/>
                  <a:pt x="1004772" y="6357442"/>
                </a:cubicBezTo>
                <a:cubicBezTo>
                  <a:pt x="1006909" y="6358853"/>
                  <a:pt x="1007977" y="6360787"/>
                  <a:pt x="1007977" y="6363246"/>
                </a:cubicBezTo>
                <a:cubicBezTo>
                  <a:pt x="1007977" y="6365987"/>
                  <a:pt x="1006768" y="6368375"/>
                  <a:pt x="1004349" y="6370411"/>
                </a:cubicBezTo>
                <a:cubicBezTo>
                  <a:pt x="1001931" y="6372446"/>
                  <a:pt x="998222" y="6373464"/>
                  <a:pt x="993224" y="6373464"/>
                </a:cubicBezTo>
                <a:cubicBezTo>
                  <a:pt x="988266" y="6373464"/>
                  <a:pt x="984407" y="6372315"/>
                  <a:pt x="981646" y="6370018"/>
                </a:cubicBezTo>
                <a:cubicBezTo>
                  <a:pt x="978885" y="6367720"/>
                  <a:pt x="977202" y="6364415"/>
                  <a:pt x="976598" y="6360102"/>
                </a:cubicBezTo>
                <a:lnTo>
                  <a:pt x="965835" y="6361795"/>
                </a:lnTo>
                <a:cubicBezTo>
                  <a:pt x="967044" y="6368607"/>
                  <a:pt x="969836" y="6373746"/>
                  <a:pt x="974209" y="6377213"/>
                </a:cubicBezTo>
                <a:cubicBezTo>
                  <a:pt x="978583" y="6380679"/>
                  <a:pt x="984941" y="6382412"/>
                  <a:pt x="993285" y="6382412"/>
                </a:cubicBezTo>
                <a:cubicBezTo>
                  <a:pt x="998323" y="6382412"/>
                  <a:pt x="1002838" y="6381536"/>
                  <a:pt x="1006828" y="6379782"/>
                </a:cubicBezTo>
                <a:cubicBezTo>
                  <a:pt x="1010819" y="6378029"/>
                  <a:pt x="1013872" y="6375550"/>
                  <a:pt x="1015988" y="6372345"/>
                </a:cubicBezTo>
                <a:cubicBezTo>
                  <a:pt x="1018104" y="6369141"/>
                  <a:pt x="1019162" y="6365725"/>
                  <a:pt x="1019162" y="6362097"/>
                </a:cubicBezTo>
                <a:cubicBezTo>
                  <a:pt x="1019162" y="6358389"/>
                  <a:pt x="1018296" y="6355285"/>
                  <a:pt x="1016562" y="6352786"/>
                </a:cubicBezTo>
                <a:cubicBezTo>
                  <a:pt x="1014829" y="6350287"/>
                  <a:pt x="1012441" y="6348383"/>
                  <a:pt x="1009398" y="6347073"/>
                </a:cubicBezTo>
                <a:cubicBezTo>
                  <a:pt x="1006354" y="6345763"/>
                  <a:pt x="1000984" y="6344080"/>
                  <a:pt x="993285" y="6342024"/>
                </a:cubicBezTo>
                <a:cubicBezTo>
                  <a:pt x="987964" y="6340573"/>
                  <a:pt x="984760" y="6339646"/>
                  <a:pt x="983671" y="6339243"/>
                </a:cubicBezTo>
                <a:cubicBezTo>
                  <a:pt x="981777" y="6338477"/>
                  <a:pt x="980386" y="6337510"/>
                  <a:pt x="979500" y="6336341"/>
                </a:cubicBezTo>
                <a:cubicBezTo>
                  <a:pt x="978613" y="6335212"/>
                  <a:pt x="978170" y="6333942"/>
                  <a:pt x="978170" y="6332532"/>
                </a:cubicBezTo>
                <a:cubicBezTo>
                  <a:pt x="978170" y="6330315"/>
                  <a:pt x="979238" y="6328380"/>
                  <a:pt x="981374" y="6326727"/>
                </a:cubicBezTo>
                <a:cubicBezTo>
                  <a:pt x="983510" y="6325075"/>
                  <a:pt x="987077" y="6324248"/>
                  <a:pt x="992076" y="6324248"/>
                </a:cubicBezTo>
                <a:cubicBezTo>
                  <a:pt x="996308" y="6324248"/>
                  <a:pt x="999583" y="6325176"/>
                  <a:pt x="1001900" y="6327030"/>
                </a:cubicBezTo>
                <a:cubicBezTo>
                  <a:pt x="1004218" y="6328884"/>
                  <a:pt x="1005619" y="6331463"/>
                  <a:pt x="1006103" y="6334769"/>
                </a:cubicBezTo>
                <a:lnTo>
                  <a:pt x="1016744" y="6333318"/>
                </a:lnTo>
                <a:cubicBezTo>
                  <a:pt x="1016059" y="6329166"/>
                  <a:pt x="1014809" y="6325851"/>
                  <a:pt x="1012995" y="6323372"/>
                </a:cubicBezTo>
                <a:cubicBezTo>
                  <a:pt x="1011181" y="6320893"/>
                  <a:pt x="1008370" y="6318928"/>
                  <a:pt x="1004561" y="6317477"/>
                </a:cubicBezTo>
                <a:cubicBezTo>
                  <a:pt x="1000752" y="6316026"/>
                  <a:pt x="996328" y="6315300"/>
                  <a:pt x="991290" y="6315300"/>
                </a:cubicBezTo>
                <a:close/>
                <a:moveTo>
                  <a:pt x="929875" y="6315300"/>
                </a:moveTo>
                <a:cubicBezTo>
                  <a:pt x="921007" y="6315300"/>
                  <a:pt x="913792" y="6318283"/>
                  <a:pt x="908229" y="6324248"/>
                </a:cubicBezTo>
                <a:cubicBezTo>
                  <a:pt x="902667" y="6330214"/>
                  <a:pt x="899886" y="6338598"/>
                  <a:pt x="899886" y="6349400"/>
                </a:cubicBezTo>
                <a:cubicBezTo>
                  <a:pt x="899886" y="6359840"/>
                  <a:pt x="902637" y="6367952"/>
                  <a:pt x="908139" y="6373736"/>
                </a:cubicBezTo>
                <a:cubicBezTo>
                  <a:pt x="913641" y="6379520"/>
                  <a:pt x="921088" y="6382412"/>
                  <a:pt x="930479" y="6382412"/>
                </a:cubicBezTo>
                <a:cubicBezTo>
                  <a:pt x="937936" y="6382412"/>
                  <a:pt x="944063" y="6380598"/>
                  <a:pt x="948860" y="6376971"/>
                </a:cubicBezTo>
                <a:cubicBezTo>
                  <a:pt x="953656" y="6373343"/>
                  <a:pt x="956941" y="6368244"/>
                  <a:pt x="958715" y="6361674"/>
                </a:cubicBezTo>
                <a:lnTo>
                  <a:pt x="947469" y="6360283"/>
                </a:lnTo>
                <a:cubicBezTo>
                  <a:pt x="945816" y="6364879"/>
                  <a:pt x="943579" y="6368224"/>
                  <a:pt x="940758" y="6370320"/>
                </a:cubicBezTo>
                <a:cubicBezTo>
                  <a:pt x="937936" y="6372416"/>
                  <a:pt x="934530" y="6373464"/>
                  <a:pt x="930540" y="6373464"/>
                </a:cubicBezTo>
                <a:cubicBezTo>
                  <a:pt x="925179" y="6373464"/>
                  <a:pt x="920705" y="6371590"/>
                  <a:pt x="917117" y="6367841"/>
                </a:cubicBezTo>
                <a:cubicBezTo>
                  <a:pt x="913530" y="6364093"/>
                  <a:pt x="911535" y="6358691"/>
                  <a:pt x="911132" y="6351637"/>
                </a:cubicBezTo>
                <a:lnTo>
                  <a:pt x="959017" y="6351637"/>
                </a:lnTo>
                <a:cubicBezTo>
                  <a:pt x="959057" y="6350348"/>
                  <a:pt x="959078" y="6349380"/>
                  <a:pt x="959078" y="6348735"/>
                </a:cubicBezTo>
                <a:cubicBezTo>
                  <a:pt x="959078" y="6338134"/>
                  <a:pt x="956357" y="6329912"/>
                  <a:pt x="950915" y="6324067"/>
                </a:cubicBezTo>
                <a:cubicBezTo>
                  <a:pt x="945474" y="6318222"/>
                  <a:pt x="938460" y="6315300"/>
                  <a:pt x="929875" y="6315300"/>
                </a:cubicBezTo>
                <a:close/>
                <a:moveTo>
                  <a:pt x="867069" y="6315300"/>
                </a:moveTo>
                <a:cubicBezTo>
                  <a:pt x="858161" y="6315300"/>
                  <a:pt x="851349" y="6318827"/>
                  <a:pt x="846633" y="6325881"/>
                </a:cubicBezTo>
                <a:lnTo>
                  <a:pt x="846633" y="6316751"/>
                </a:lnTo>
                <a:lnTo>
                  <a:pt x="836839" y="6316751"/>
                </a:lnTo>
                <a:lnTo>
                  <a:pt x="836839" y="6380961"/>
                </a:lnTo>
                <a:lnTo>
                  <a:pt x="847722" y="6380961"/>
                </a:lnTo>
                <a:lnTo>
                  <a:pt x="847722" y="6345894"/>
                </a:lnTo>
                <a:cubicBezTo>
                  <a:pt x="847722" y="6337671"/>
                  <a:pt x="849405" y="6332088"/>
                  <a:pt x="852770" y="6329146"/>
                </a:cubicBezTo>
                <a:cubicBezTo>
                  <a:pt x="856136" y="6326203"/>
                  <a:pt x="860136" y="6324732"/>
                  <a:pt x="864772" y="6324732"/>
                </a:cubicBezTo>
                <a:cubicBezTo>
                  <a:pt x="867674" y="6324732"/>
                  <a:pt x="870203" y="6325387"/>
                  <a:pt x="872360" y="6326697"/>
                </a:cubicBezTo>
                <a:cubicBezTo>
                  <a:pt x="874516" y="6328007"/>
                  <a:pt x="876018" y="6329761"/>
                  <a:pt x="876864" y="6331957"/>
                </a:cubicBezTo>
                <a:cubicBezTo>
                  <a:pt x="877710" y="6334154"/>
                  <a:pt x="878134" y="6337469"/>
                  <a:pt x="878134" y="6341903"/>
                </a:cubicBezTo>
                <a:lnTo>
                  <a:pt x="878134" y="6380961"/>
                </a:lnTo>
                <a:lnTo>
                  <a:pt x="889017" y="6380961"/>
                </a:lnTo>
                <a:lnTo>
                  <a:pt x="889017" y="6341480"/>
                </a:lnTo>
                <a:cubicBezTo>
                  <a:pt x="889017" y="6336441"/>
                  <a:pt x="888815" y="6332915"/>
                  <a:pt x="888412" y="6330899"/>
                </a:cubicBezTo>
                <a:cubicBezTo>
                  <a:pt x="887767" y="6327796"/>
                  <a:pt x="886639" y="6325115"/>
                  <a:pt x="885026" y="6322858"/>
                </a:cubicBezTo>
                <a:cubicBezTo>
                  <a:pt x="883414" y="6320601"/>
                  <a:pt x="880985" y="6318777"/>
                  <a:pt x="877741" y="6317386"/>
                </a:cubicBezTo>
                <a:cubicBezTo>
                  <a:pt x="874496" y="6315995"/>
                  <a:pt x="870939" y="6315300"/>
                  <a:pt x="867069" y="6315300"/>
                </a:cubicBezTo>
                <a:close/>
                <a:moveTo>
                  <a:pt x="762690" y="6315300"/>
                </a:moveTo>
                <a:cubicBezTo>
                  <a:pt x="759344" y="6315300"/>
                  <a:pt x="756210" y="6315733"/>
                  <a:pt x="753288" y="6316600"/>
                </a:cubicBezTo>
                <a:cubicBezTo>
                  <a:pt x="750366" y="6317467"/>
                  <a:pt x="748058" y="6318525"/>
                  <a:pt x="746365" y="6319774"/>
                </a:cubicBezTo>
                <a:cubicBezTo>
                  <a:pt x="744108" y="6321387"/>
                  <a:pt x="742324" y="6323412"/>
                  <a:pt x="741014" y="6325851"/>
                </a:cubicBezTo>
                <a:cubicBezTo>
                  <a:pt x="739704" y="6328289"/>
                  <a:pt x="739049" y="6330939"/>
                  <a:pt x="739049" y="6333801"/>
                </a:cubicBezTo>
                <a:cubicBezTo>
                  <a:pt x="739049" y="6336945"/>
                  <a:pt x="739845" y="6339817"/>
                  <a:pt x="741437" y="6342417"/>
                </a:cubicBezTo>
                <a:cubicBezTo>
                  <a:pt x="743030" y="6345017"/>
                  <a:pt x="745367" y="6347052"/>
                  <a:pt x="748451" y="6348524"/>
                </a:cubicBezTo>
                <a:cubicBezTo>
                  <a:pt x="751534" y="6349995"/>
                  <a:pt x="757067" y="6351738"/>
                  <a:pt x="765048" y="6353754"/>
                </a:cubicBezTo>
                <a:cubicBezTo>
                  <a:pt x="770973" y="6355245"/>
                  <a:pt x="774681" y="6356474"/>
                  <a:pt x="776172" y="6357442"/>
                </a:cubicBezTo>
                <a:cubicBezTo>
                  <a:pt x="778309" y="6358853"/>
                  <a:pt x="779377" y="6360787"/>
                  <a:pt x="779377" y="6363246"/>
                </a:cubicBezTo>
                <a:cubicBezTo>
                  <a:pt x="779377" y="6365987"/>
                  <a:pt x="778168" y="6368375"/>
                  <a:pt x="775749" y="6370411"/>
                </a:cubicBezTo>
                <a:cubicBezTo>
                  <a:pt x="773331" y="6372446"/>
                  <a:pt x="769623" y="6373464"/>
                  <a:pt x="764624" y="6373464"/>
                </a:cubicBezTo>
                <a:cubicBezTo>
                  <a:pt x="759666" y="6373464"/>
                  <a:pt x="755807" y="6372315"/>
                  <a:pt x="753046" y="6370018"/>
                </a:cubicBezTo>
                <a:cubicBezTo>
                  <a:pt x="750285" y="6367720"/>
                  <a:pt x="748602" y="6364415"/>
                  <a:pt x="747997" y="6360102"/>
                </a:cubicBezTo>
                <a:lnTo>
                  <a:pt x="737235" y="6361795"/>
                </a:lnTo>
                <a:cubicBezTo>
                  <a:pt x="738445" y="6368607"/>
                  <a:pt x="741236" y="6373746"/>
                  <a:pt x="745609" y="6377213"/>
                </a:cubicBezTo>
                <a:cubicBezTo>
                  <a:pt x="749983" y="6380679"/>
                  <a:pt x="756341" y="6382412"/>
                  <a:pt x="764685" y="6382412"/>
                </a:cubicBezTo>
                <a:cubicBezTo>
                  <a:pt x="769723" y="6382412"/>
                  <a:pt x="774238" y="6381536"/>
                  <a:pt x="778228" y="6379782"/>
                </a:cubicBezTo>
                <a:cubicBezTo>
                  <a:pt x="782219" y="6378029"/>
                  <a:pt x="785272" y="6375550"/>
                  <a:pt x="787388" y="6372345"/>
                </a:cubicBezTo>
                <a:cubicBezTo>
                  <a:pt x="789504" y="6369141"/>
                  <a:pt x="790562" y="6365725"/>
                  <a:pt x="790562" y="6362097"/>
                </a:cubicBezTo>
                <a:cubicBezTo>
                  <a:pt x="790562" y="6358389"/>
                  <a:pt x="789696" y="6355285"/>
                  <a:pt x="787962" y="6352786"/>
                </a:cubicBezTo>
                <a:cubicBezTo>
                  <a:pt x="786229" y="6350287"/>
                  <a:pt x="783841" y="6348383"/>
                  <a:pt x="780798" y="6347073"/>
                </a:cubicBezTo>
                <a:cubicBezTo>
                  <a:pt x="777754" y="6345763"/>
                  <a:pt x="772383" y="6344080"/>
                  <a:pt x="764685" y="6342024"/>
                </a:cubicBezTo>
                <a:cubicBezTo>
                  <a:pt x="759364" y="6340573"/>
                  <a:pt x="756160" y="6339646"/>
                  <a:pt x="755071" y="6339243"/>
                </a:cubicBezTo>
                <a:cubicBezTo>
                  <a:pt x="753177" y="6338477"/>
                  <a:pt x="751786" y="6337510"/>
                  <a:pt x="750900" y="6336341"/>
                </a:cubicBezTo>
                <a:cubicBezTo>
                  <a:pt x="750013" y="6335212"/>
                  <a:pt x="749569" y="6333942"/>
                  <a:pt x="749569" y="6332532"/>
                </a:cubicBezTo>
                <a:cubicBezTo>
                  <a:pt x="749569" y="6330315"/>
                  <a:pt x="750638" y="6328380"/>
                  <a:pt x="752774" y="6326727"/>
                </a:cubicBezTo>
                <a:cubicBezTo>
                  <a:pt x="754910" y="6325075"/>
                  <a:pt x="758477" y="6324248"/>
                  <a:pt x="763476" y="6324248"/>
                </a:cubicBezTo>
                <a:cubicBezTo>
                  <a:pt x="767708" y="6324248"/>
                  <a:pt x="770983" y="6325176"/>
                  <a:pt x="773301" y="6327030"/>
                </a:cubicBezTo>
                <a:cubicBezTo>
                  <a:pt x="775618" y="6328884"/>
                  <a:pt x="777019" y="6331463"/>
                  <a:pt x="777503" y="6334769"/>
                </a:cubicBezTo>
                <a:lnTo>
                  <a:pt x="788144" y="6333318"/>
                </a:lnTo>
                <a:cubicBezTo>
                  <a:pt x="787459" y="6329166"/>
                  <a:pt x="786209" y="6325851"/>
                  <a:pt x="784395" y="6323372"/>
                </a:cubicBezTo>
                <a:cubicBezTo>
                  <a:pt x="782581" y="6320893"/>
                  <a:pt x="779770" y="6318928"/>
                  <a:pt x="775961" y="6317477"/>
                </a:cubicBezTo>
                <a:cubicBezTo>
                  <a:pt x="772152" y="6316026"/>
                  <a:pt x="767728" y="6315300"/>
                  <a:pt x="762690" y="6315300"/>
                </a:cubicBezTo>
                <a:close/>
                <a:moveTo>
                  <a:pt x="525681" y="6301636"/>
                </a:moveTo>
                <a:cubicBezTo>
                  <a:pt x="527051" y="6306432"/>
                  <a:pt x="529147" y="6312559"/>
                  <a:pt x="531969" y="6320016"/>
                </a:cubicBezTo>
                <a:lnTo>
                  <a:pt x="541219" y="6344563"/>
                </a:lnTo>
                <a:lnTo>
                  <a:pt x="511170" y="6344563"/>
                </a:lnTo>
                <a:lnTo>
                  <a:pt x="520904" y="6318565"/>
                </a:lnTo>
                <a:cubicBezTo>
                  <a:pt x="522960" y="6312962"/>
                  <a:pt x="524552" y="6307319"/>
                  <a:pt x="525681" y="6301636"/>
                </a:cubicBezTo>
                <a:close/>
                <a:moveTo>
                  <a:pt x="1847396" y="6292325"/>
                </a:moveTo>
                <a:lnTo>
                  <a:pt x="1847396" y="6380961"/>
                </a:lnTo>
                <a:lnTo>
                  <a:pt x="1902778" y="6380961"/>
                </a:lnTo>
                <a:lnTo>
                  <a:pt x="1902778" y="6370501"/>
                </a:lnTo>
                <a:lnTo>
                  <a:pt x="1859125" y="6370501"/>
                </a:lnTo>
                <a:lnTo>
                  <a:pt x="1859125" y="6292325"/>
                </a:lnTo>
                <a:close/>
                <a:moveTo>
                  <a:pt x="1676067" y="6292325"/>
                </a:moveTo>
                <a:lnTo>
                  <a:pt x="1676067" y="6380961"/>
                </a:lnTo>
                <a:lnTo>
                  <a:pt x="1687373" y="6380961"/>
                </a:lnTo>
                <a:lnTo>
                  <a:pt x="1687373" y="6305505"/>
                </a:lnTo>
                <a:lnTo>
                  <a:pt x="1713008" y="6380961"/>
                </a:lnTo>
                <a:lnTo>
                  <a:pt x="1723589" y="6380961"/>
                </a:lnTo>
                <a:lnTo>
                  <a:pt x="1749346" y="6306775"/>
                </a:lnTo>
                <a:lnTo>
                  <a:pt x="1749346" y="6380961"/>
                </a:lnTo>
                <a:lnTo>
                  <a:pt x="1760652" y="6380961"/>
                </a:lnTo>
                <a:lnTo>
                  <a:pt x="1760652" y="6292325"/>
                </a:lnTo>
                <a:lnTo>
                  <a:pt x="1744872" y="6292325"/>
                </a:lnTo>
                <a:lnTo>
                  <a:pt x="1723650" y="6353995"/>
                </a:lnTo>
                <a:cubicBezTo>
                  <a:pt x="1721513" y="6360243"/>
                  <a:pt x="1719941" y="6364979"/>
                  <a:pt x="1718933" y="6368204"/>
                </a:cubicBezTo>
                <a:cubicBezTo>
                  <a:pt x="1718047" y="6365302"/>
                  <a:pt x="1716636" y="6360928"/>
                  <a:pt x="1714701" y="6355084"/>
                </a:cubicBezTo>
                <a:lnTo>
                  <a:pt x="1693721" y="6292325"/>
                </a:lnTo>
                <a:close/>
                <a:moveTo>
                  <a:pt x="1560739" y="6292325"/>
                </a:moveTo>
                <a:lnTo>
                  <a:pt x="1560739" y="6380961"/>
                </a:lnTo>
                <a:lnTo>
                  <a:pt x="1571622" y="6380961"/>
                </a:lnTo>
                <a:lnTo>
                  <a:pt x="1571622" y="6345833"/>
                </a:lnTo>
                <a:cubicBezTo>
                  <a:pt x="1571622" y="6340795"/>
                  <a:pt x="1572226" y="6336845"/>
                  <a:pt x="1573435" y="6333983"/>
                </a:cubicBezTo>
                <a:cubicBezTo>
                  <a:pt x="1574645" y="6331121"/>
                  <a:pt x="1576670" y="6328854"/>
                  <a:pt x="1579512" y="6327181"/>
                </a:cubicBezTo>
                <a:cubicBezTo>
                  <a:pt x="1582354" y="6325508"/>
                  <a:pt x="1585387" y="6324672"/>
                  <a:pt x="1588611" y="6324672"/>
                </a:cubicBezTo>
                <a:cubicBezTo>
                  <a:pt x="1592924" y="6324672"/>
                  <a:pt x="1596260" y="6325911"/>
                  <a:pt x="1598618" y="6328390"/>
                </a:cubicBezTo>
                <a:cubicBezTo>
                  <a:pt x="1600976" y="6330869"/>
                  <a:pt x="1602155" y="6334829"/>
                  <a:pt x="1602155" y="6340271"/>
                </a:cubicBezTo>
                <a:lnTo>
                  <a:pt x="1602155" y="6380961"/>
                </a:lnTo>
                <a:lnTo>
                  <a:pt x="1613038" y="6380961"/>
                </a:lnTo>
                <a:lnTo>
                  <a:pt x="1613038" y="6340271"/>
                </a:lnTo>
                <a:cubicBezTo>
                  <a:pt x="1613038" y="6333983"/>
                  <a:pt x="1612282" y="6329186"/>
                  <a:pt x="1610771" y="6325881"/>
                </a:cubicBezTo>
                <a:cubicBezTo>
                  <a:pt x="1609259" y="6322576"/>
                  <a:pt x="1606750" y="6319986"/>
                  <a:pt x="1603243" y="6318112"/>
                </a:cubicBezTo>
                <a:cubicBezTo>
                  <a:pt x="1599736" y="6316237"/>
                  <a:pt x="1595605" y="6315300"/>
                  <a:pt x="1590848" y="6315300"/>
                </a:cubicBezTo>
                <a:cubicBezTo>
                  <a:pt x="1583109" y="6315300"/>
                  <a:pt x="1576700" y="6318243"/>
                  <a:pt x="1571622" y="6324128"/>
                </a:cubicBezTo>
                <a:lnTo>
                  <a:pt x="1571622" y="6292325"/>
                </a:lnTo>
                <a:close/>
                <a:moveTo>
                  <a:pt x="1285542" y="6292325"/>
                </a:moveTo>
                <a:lnTo>
                  <a:pt x="1285542" y="6380961"/>
                </a:lnTo>
                <a:lnTo>
                  <a:pt x="1296848" y="6380961"/>
                </a:lnTo>
                <a:lnTo>
                  <a:pt x="1296848" y="6305505"/>
                </a:lnTo>
                <a:lnTo>
                  <a:pt x="1322484" y="6380961"/>
                </a:lnTo>
                <a:lnTo>
                  <a:pt x="1333064" y="6380961"/>
                </a:lnTo>
                <a:lnTo>
                  <a:pt x="1358821" y="6306775"/>
                </a:lnTo>
                <a:lnTo>
                  <a:pt x="1358821" y="6380961"/>
                </a:lnTo>
                <a:lnTo>
                  <a:pt x="1370127" y="6380961"/>
                </a:lnTo>
                <a:lnTo>
                  <a:pt x="1370127" y="6292325"/>
                </a:lnTo>
                <a:lnTo>
                  <a:pt x="1354347" y="6292325"/>
                </a:lnTo>
                <a:lnTo>
                  <a:pt x="1333125" y="6353995"/>
                </a:lnTo>
                <a:cubicBezTo>
                  <a:pt x="1330988" y="6360243"/>
                  <a:pt x="1329416" y="6364979"/>
                  <a:pt x="1328409" y="6368204"/>
                </a:cubicBezTo>
                <a:cubicBezTo>
                  <a:pt x="1327522" y="6365302"/>
                  <a:pt x="1326111" y="6360928"/>
                  <a:pt x="1324176" y="6355084"/>
                </a:cubicBezTo>
                <a:lnTo>
                  <a:pt x="1303196" y="6292325"/>
                </a:lnTo>
                <a:close/>
                <a:moveTo>
                  <a:pt x="808324" y="6292325"/>
                </a:moveTo>
                <a:lnTo>
                  <a:pt x="808324" y="6304840"/>
                </a:lnTo>
                <a:lnTo>
                  <a:pt x="819207" y="6304840"/>
                </a:lnTo>
                <a:lnTo>
                  <a:pt x="819207" y="6292325"/>
                </a:lnTo>
                <a:close/>
                <a:moveTo>
                  <a:pt x="608178" y="6292325"/>
                </a:moveTo>
                <a:lnTo>
                  <a:pt x="608178" y="6380961"/>
                </a:lnTo>
                <a:lnTo>
                  <a:pt x="618275" y="6380961"/>
                </a:lnTo>
                <a:lnTo>
                  <a:pt x="618275" y="6372920"/>
                </a:lnTo>
                <a:cubicBezTo>
                  <a:pt x="622588" y="6379248"/>
                  <a:pt x="628533" y="6382412"/>
                  <a:pt x="636111" y="6382412"/>
                </a:cubicBezTo>
                <a:cubicBezTo>
                  <a:pt x="643729" y="6382412"/>
                  <a:pt x="650259" y="6379409"/>
                  <a:pt x="655701" y="6373404"/>
                </a:cubicBezTo>
                <a:cubicBezTo>
                  <a:pt x="661142" y="6367398"/>
                  <a:pt x="663863" y="6358893"/>
                  <a:pt x="663863" y="6347889"/>
                </a:cubicBezTo>
                <a:cubicBezTo>
                  <a:pt x="663863" y="6343253"/>
                  <a:pt x="663218" y="6338900"/>
                  <a:pt x="661928" y="6334829"/>
                </a:cubicBezTo>
                <a:cubicBezTo>
                  <a:pt x="660638" y="6330758"/>
                  <a:pt x="658855" y="6327282"/>
                  <a:pt x="656577" y="6324400"/>
                </a:cubicBezTo>
                <a:cubicBezTo>
                  <a:pt x="654300" y="6321518"/>
                  <a:pt x="651398" y="6319281"/>
                  <a:pt x="647871" y="6317688"/>
                </a:cubicBezTo>
                <a:cubicBezTo>
                  <a:pt x="644344" y="6316096"/>
                  <a:pt x="640606" y="6315300"/>
                  <a:pt x="636655" y="6315300"/>
                </a:cubicBezTo>
                <a:cubicBezTo>
                  <a:pt x="629521" y="6315300"/>
                  <a:pt x="623656" y="6318182"/>
                  <a:pt x="619061" y="6323946"/>
                </a:cubicBezTo>
                <a:lnTo>
                  <a:pt x="619061" y="6292325"/>
                </a:lnTo>
                <a:close/>
                <a:moveTo>
                  <a:pt x="519635" y="6292325"/>
                </a:moveTo>
                <a:lnTo>
                  <a:pt x="485595" y="6380961"/>
                </a:lnTo>
                <a:lnTo>
                  <a:pt x="498050" y="6380961"/>
                </a:lnTo>
                <a:lnTo>
                  <a:pt x="507784" y="6354116"/>
                </a:lnTo>
                <a:lnTo>
                  <a:pt x="544847" y="6354116"/>
                </a:lnTo>
                <a:lnTo>
                  <a:pt x="555186" y="6380961"/>
                </a:lnTo>
                <a:lnTo>
                  <a:pt x="568548" y="6380961"/>
                </a:lnTo>
                <a:lnTo>
                  <a:pt x="532271" y="6292325"/>
                </a:lnTo>
                <a:close/>
                <a:moveTo>
                  <a:pt x="1228689" y="6290813"/>
                </a:moveTo>
                <a:cubicBezTo>
                  <a:pt x="1223933" y="6290813"/>
                  <a:pt x="1220235" y="6291690"/>
                  <a:pt x="1217594" y="6293443"/>
                </a:cubicBezTo>
                <a:cubicBezTo>
                  <a:pt x="1214954" y="6295197"/>
                  <a:pt x="1213110" y="6297484"/>
                  <a:pt x="1212062" y="6300306"/>
                </a:cubicBezTo>
                <a:cubicBezTo>
                  <a:pt x="1211296" y="6302402"/>
                  <a:pt x="1210914" y="6305606"/>
                  <a:pt x="1210914" y="6309919"/>
                </a:cubicBezTo>
                <a:lnTo>
                  <a:pt x="1210914" y="6316751"/>
                </a:lnTo>
                <a:lnTo>
                  <a:pt x="1201300" y="6316751"/>
                </a:lnTo>
                <a:lnTo>
                  <a:pt x="1201300" y="6325216"/>
                </a:lnTo>
                <a:lnTo>
                  <a:pt x="1210914" y="6325216"/>
                </a:lnTo>
                <a:lnTo>
                  <a:pt x="1210914" y="6380961"/>
                </a:lnTo>
                <a:lnTo>
                  <a:pt x="1221736" y="6380961"/>
                </a:lnTo>
                <a:lnTo>
                  <a:pt x="1221736" y="6325216"/>
                </a:lnTo>
                <a:lnTo>
                  <a:pt x="1234252" y="6325216"/>
                </a:lnTo>
                <a:lnTo>
                  <a:pt x="1234252" y="6316751"/>
                </a:lnTo>
                <a:lnTo>
                  <a:pt x="1221736" y="6316751"/>
                </a:lnTo>
                <a:lnTo>
                  <a:pt x="1221736" y="6310826"/>
                </a:lnTo>
                <a:cubicBezTo>
                  <a:pt x="1221736" y="6306956"/>
                  <a:pt x="1222421" y="6304316"/>
                  <a:pt x="1223792" y="6302906"/>
                </a:cubicBezTo>
                <a:cubicBezTo>
                  <a:pt x="1225162" y="6301495"/>
                  <a:pt x="1227500" y="6300789"/>
                  <a:pt x="1230805" y="6300789"/>
                </a:cubicBezTo>
                <a:cubicBezTo>
                  <a:pt x="1232820" y="6300789"/>
                  <a:pt x="1234957" y="6300991"/>
                  <a:pt x="1237214" y="6301394"/>
                </a:cubicBezTo>
                <a:lnTo>
                  <a:pt x="1238847" y="6291902"/>
                </a:lnTo>
                <a:cubicBezTo>
                  <a:pt x="1235138" y="6291176"/>
                  <a:pt x="1231753" y="6290813"/>
                  <a:pt x="1228689" y="6290813"/>
                </a:cubicBezTo>
                <a:close/>
                <a:moveTo>
                  <a:pt x="7175501" y="1"/>
                </a:moveTo>
                <a:lnTo>
                  <a:pt x="12191999" y="1"/>
                </a:lnTo>
                <a:lnTo>
                  <a:pt x="12191999" y="6858001"/>
                </a:lnTo>
                <a:lnTo>
                  <a:pt x="1" y="6858001"/>
                </a:lnTo>
                <a:lnTo>
                  <a:pt x="1" y="5752619"/>
                </a:lnTo>
                <a:lnTo>
                  <a:pt x="7175501" y="5752619"/>
                </a:lnTo>
                <a:close/>
                <a:moveTo>
                  <a:pt x="0" y="0"/>
                </a:moveTo>
                <a:lnTo>
                  <a:pt x="7175501" y="0"/>
                </a:lnTo>
                <a:lnTo>
                  <a:pt x="7175501" y="1"/>
                </a:lnTo>
                <a:lnTo>
                  <a:pt x="1" y="1"/>
                </a:lnTo>
                <a:lnTo>
                  <a:pt x="1" y="5752619"/>
                </a:lnTo>
                <a:lnTo>
                  <a:pt x="0" y="5752619"/>
                </a:lnTo>
                <a:close/>
              </a:path>
            </a:pathLst>
          </a:custGeom>
          <a:solidFill>
            <a:srgbClr val="F0F0F0"/>
          </a:solidFill>
        </p:spPr>
        <p:txBody>
          <a:bodyPr wrap="square">
            <a:no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1200">
                <a:solidFill>
                  <a:srgbClr val="FF0000"/>
                </a:solidFill>
              </a:defRPr>
            </a:lvl1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smtClean="0"/>
              <a:t>Click on picture icon to insert picture. Reset layout.</a:t>
            </a:r>
            <a:endParaRPr lang="en-US" dirty="0"/>
          </a:p>
        </p:txBody>
      </p:sp>
      <p:sp>
        <p:nvSpPr>
          <p:cNvPr id="12"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smtClean="0"/>
              <a:t>Placeholder for a third party or a client logo. Click icon to add logo. Use “Crop” feature on “Format” tab to resize or reposition logo once added. Give the logo equal visual weight as Marsh’s. Delete box if not used.</a:t>
            </a:r>
          </a:p>
        </p:txBody>
      </p:sp>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42138162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6715"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609725"/>
            <a:ext cx="6485763" cy="1600200"/>
          </a:xfrm>
        </p:spPr>
        <p:txBody>
          <a:bodyPr vert="horz" anchor="b" anchorCtr="0"/>
          <a:lstStyle>
            <a:lvl1pPr>
              <a:lnSpc>
                <a:spcPct val="90000"/>
              </a:lnSpc>
              <a:defRPr lang="en-US" sz="4800" b="1" i="0" kern="1200" cap="none" baseline="0" dirty="0">
                <a:solidFill>
                  <a:schemeClr val="tx2"/>
                </a:solidFill>
                <a:latin typeface="Arial" panose="020B0604020202020204" pitchFamily="34" charset="0"/>
                <a:ea typeface="+mj-ea"/>
                <a:cs typeface="Arial" panose="020B0604020202020204" pitchFamily="34" charset="0"/>
              </a:defRPr>
            </a:lvl1pPr>
          </a:lstStyle>
          <a:p>
            <a:r>
              <a:rPr lang="en-US" dirty="0" smtClean="0"/>
              <a:t>This is a placeholder </a:t>
            </a:r>
            <a:br>
              <a:rPr lang="en-US" dirty="0" smtClean="0"/>
            </a:br>
            <a:r>
              <a:rPr lang="en-US" dirty="0" smtClean="0"/>
              <a:t>for main title</a:t>
            </a:r>
            <a:endParaRPr lang="en-US" dirty="0"/>
          </a:p>
        </p:txBody>
      </p:sp>
      <p:sp>
        <p:nvSpPr>
          <p:cNvPr id="3" name="Subtitle 2"/>
          <p:cNvSpPr>
            <a:spLocks noGrp="1"/>
          </p:cNvSpPr>
          <p:nvPr>
            <p:ph type="subTitle" idx="1" hasCustomPrompt="1"/>
          </p:nvPr>
        </p:nvSpPr>
        <p:spPr>
          <a:xfrm>
            <a:off x="462026" y="3405820"/>
            <a:ext cx="6447769"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9" name="Text Placeholder 3">
            <a:extLst>
              <a:ext uri="{FF2B5EF4-FFF2-40B4-BE49-F238E27FC236}">
                <a16:creationId xmlns:a16="http://schemas.microsoft.com/office/drawing/2014/main" id="{408D7265-22AD-444D-9DAE-694197297FA6}"/>
              </a:ext>
            </a:extLst>
          </p:cNvPr>
          <p:cNvSpPr>
            <a:spLocks noGrp="1"/>
          </p:cNvSpPr>
          <p:nvPr>
            <p:ph type="body" sz="half" idx="2" hasCustomPrompt="1"/>
          </p:nvPr>
        </p:nvSpPr>
        <p:spPr>
          <a:xfrm>
            <a:off x="485775" y="4429126"/>
            <a:ext cx="64484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2"/>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pic>
        <p:nvPicPr>
          <p:cNvPr id="11" name="Graphic 12">
            <a:extLst>
              <a:ext uri="{FF2B5EF4-FFF2-40B4-BE49-F238E27FC236}">
                <a16:creationId xmlns:a16="http://schemas.microsoft.com/office/drawing/2014/main" id="{CB3E854A-C626-6940-8EB7-1215314D076F}"/>
              </a:ext>
            </a:extLst>
          </p:cNvPr>
          <p:cNvPicPr>
            <a:picLocks noChangeAspect="1"/>
          </p:cNvPicPr>
          <p:nvPr userDrawn="1"/>
        </p:nvPicPr>
        <p:blipFill>
          <a:blip r:embed="rId6">
            <a:extLst>
              <a:ext uri="{96DAC541-7B7A-43D3-8B79-37D633B846F1}">
                <asvg:svgBlip xmlns="" xmlns:asvg="http://schemas.microsoft.com/office/drawing/2016/SVG/main" r:embed="rId7"/>
              </a:ext>
            </a:extLst>
          </a:blip>
          <a:stretch>
            <a:fillRect/>
          </a:stretch>
        </p:blipFill>
        <p:spPr>
          <a:xfrm>
            <a:off x="486803" y="341762"/>
            <a:ext cx="1623974" cy="338328"/>
          </a:xfrm>
          <a:prstGeom prst="rect">
            <a:avLst/>
          </a:prstGeom>
        </p:spPr>
      </p:pic>
    </p:spTree>
    <p:extLst>
      <p:ext uri="{BB962C8B-B14F-4D97-AF65-F5344CB8AC3E}">
        <p14:creationId xmlns:p14="http://schemas.microsoft.com/office/powerpoint/2010/main" val="33678817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le slide A">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9699997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445"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5793"/>
            <a:ext cx="9365488" cy="1602882"/>
          </a:xfrm>
        </p:spPr>
        <p:txBody>
          <a:bodyPr vert="horz"/>
          <a:lstStyle>
            <a:lvl1pPr>
              <a:lnSpc>
                <a:spcPct val="90000"/>
              </a:lnSpc>
              <a:defRPr sz="6000" b="1" i="0" cap="none" baseline="0">
                <a:latin typeface="Arial" panose="020B0604020202020204" pitchFamily="34" charset="0"/>
                <a:cs typeface="Arial" panose="020B0604020202020204" pitchFamily="34" charset="0"/>
              </a:defRPr>
            </a:lvl1pPr>
          </a:lstStyle>
          <a:p>
            <a:r>
              <a:rPr lang="en-US" dirty="0" smtClean="0"/>
              <a:t>This is a placeholder </a:t>
            </a:r>
            <a:br>
              <a:rPr lang="en-US" dirty="0" smtClean="0"/>
            </a:br>
            <a:r>
              <a:rPr lang="en-US" dirty="0" smtClean="0"/>
              <a:t>for main title</a:t>
            </a:r>
            <a:endParaRPr lang="en-US" dirty="0"/>
          </a:p>
        </p:txBody>
      </p:sp>
      <p:sp>
        <p:nvSpPr>
          <p:cNvPr id="3" name="Subtitle 2"/>
          <p:cNvSpPr>
            <a:spLocks noGrp="1"/>
          </p:cNvSpPr>
          <p:nvPr>
            <p:ph type="subTitle" idx="1" hasCustomPrompt="1"/>
          </p:nvPr>
        </p:nvSpPr>
        <p:spPr>
          <a:xfrm>
            <a:off x="462026" y="3560887"/>
            <a:ext cx="9310624"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pic>
        <p:nvPicPr>
          <p:cNvPr id="12" name="Graphic 11">
            <a:extLst>
              <a:ext uri="{FF2B5EF4-FFF2-40B4-BE49-F238E27FC236}">
                <a16:creationId xmlns:a16="http://schemas.microsoft.com/office/drawing/2014/main" id="{4BDA5969-2C42-8648-93E3-BF7B87CBB66A}"/>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EB52CC60-D837-D647-A567-2B63058DBF94}"/>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smtClean="0"/>
              <a:t>Placeholder for a third party or a client logo. Click icon to add logo. Use “Crop” feature on “Format” tab to resize or reposition logo once added. Give the logo equal visual weight as Marsh’s. Delete box if not used.</a:t>
            </a:r>
          </a:p>
        </p:txBody>
      </p:sp>
      <p:sp>
        <p:nvSpPr>
          <p:cNvPr id="14" name="Rectangle 13">
            <a:extLst>
              <a:ext uri="{FF2B5EF4-FFF2-40B4-BE49-F238E27FC236}">
                <a16:creationId xmlns:a16="http://schemas.microsoft.com/office/drawing/2014/main" id="{8A000828-AFAC-3B45-BED9-82169A449934}"/>
              </a:ext>
            </a:extLst>
          </p:cNvPr>
          <p:cNvSpPr/>
          <p:nvPr/>
        </p:nvSpPr>
        <p:spPr>
          <a:xfrm>
            <a:off x="485775" y="6257135"/>
            <a:ext cx="1785745" cy="153888"/>
          </a:xfrm>
          <a:prstGeom prst="rect">
            <a:avLst/>
          </a:prstGeom>
        </p:spPr>
        <p:txBody>
          <a:bodyPr wrap="none" lIns="0" tIns="0" rIns="0" bIns="0">
            <a:spAutoFit/>
          </a:bodyPr>
          <a:lstStyle/>
          <a:p>
            <a:r>
              <a:rPr lang="en-US" sz="1000" dirty="0">
                <a:effectLst/>
                <a:latin typeface="Arial" panose="020B0604020202020204" pitchFamily="34" charset="0"/>
              </a:rPr>
              <a:t>A business of Marsh McLennan</a:t>
            </a:r>
            <a:endParaRPr lang="en-US" sz="1000" dirty="0"/>
          </a:p>
        </p:txBody>
      </p:sp>
    </p:spTree>
    <p:extLst>
      <p:ext uri="{BB962C8B-B14F-4D97-AF65-F5344CB8AC3E}">
        <p14:creationId xmlns:p14="http://schemas.microsoft.com/office/powerpoint/2010/main" val="11961421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le slide B: blue">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9228082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8285"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sz="6000" b="1" i="0" cap="none" baseline="0">
                <a:solidFill>
                  <a:schemeClr val="bg1"/>
                </a:solidFill>
                <a:latin typeface="Arial" panose="020B0604020202020204" pitchFamily="34" charset="0"/>
                <a:cs typeface="Arial" panose="020B0604020202020204" pitchFamily="34" charset="0"/>
              </a:defRPr>
            </a:lvl1pPr>
          </a:lstStyle>
          <a:p>
            <a:r>
              <a:rPr lang="en-US" dirty="0" smtClean="0"/>
              <a:t>This is a placeholder </a:t>
            </a:r>
            <a:br>
              <a:rPr lang="en-US" dirty="0" smtClean="0"/>
            </a:br>
            <a:r>
              <a:rPr lang="en-US" dirty="0" smtClean="0"/>
              <a:t>for main title</a:t>
            </a:r>
            <a:endParaRPr lang="en-US" dirty="0"/>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a:p>
            <a:endParaRPr lang="en-US" dirty="0"/>
          </a:p>
        </p:txBody>
      </p:sp>
      <p:pic>
        <p:nvPicPr>
          <p:cNvPr id="10" name="Graphic 9">
            <a:extLst>
              <a:ext uri="{FF2B5EF4-FFF2-40B4-BE49-F238E27FC236}">
                <a16:creationId xmlns:a16="http://schemas.microsoft.com/office/drawing/2014/main" id="{DEE86180-B41F-7848-B765-50E102B103F9}"/>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21CF6247-A2E8-674A-8D8D-44D4EAEBC5F3}"/>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smtClean="0"/>
              <a:t>Placeholder for a third party or a client logo. Click icon to add logo. Use “Crop” feature on “Format” tab to resize or reposition logo once added. Give the logo equal visual weight as Marsh’s. Delete box if not used.</a:t>
            </a:r>
          </a:p>
        </p:txBody>
      </p:sp>
      <p:sp>
        <p:nvSpPr>
          <p:cNvPr id="12" name="Text Placeholder 3">
            <a:extLst>
              <a:ext uri="{FF2B5EF4-FFF2-40B4-BE49-F238E27FC236}">
                <a16:creationId xmlns:a16="http://schemas.microsoft.com/office/drawing/2014/main" id="{57A2FE8B-9C7D-A345-BB2B-099F6C5E5640}"/>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D5790EA8-AA62-F64A-8A53-EECC7CCE7712}"/>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spTree>
    <p:extLst>
      <p:ext uri="{BB962C8B-B14F-4D97-AF65-F5344CB8AC3E}">
        <p14:creationId xmlns:p14="http://schemas.microsoft.com/office/powerpoint/2010/main" val="3829725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le slide B: gradient">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3990343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9310"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lang="en-US" sz="6000" b="1" i="0" kern="1200" cap="none" baseline="0" dirty="0">
                <a:solidFill>
                  <a:schemeClr val="bg1"/>
                </a:solidFill>
                <a:latin typeface="+mn-lt"/>
                <a:ea typeface="+mj-ea"/>
                <a:cs typeface="Arial Narrow" panose="020B0604020202020204" pitchFamily="34" charset="0"/>
              </a:defRPr>
            </a:lvl1pPr>
          </a:lstStyle>
          <a:p>
            <a:r>
              <a:rPr lang="en-US" dirty="0" smtClean="0"/>
              <a:t>This is a placeholder </a:t>
            </a:r>
            <a:br>
              <a:rPr lang="en-US" dirty="0" smtClean="0"/>
            </a:br>
            <a:r>
              <a:rPr lang="en-US" dirty="0" smtClean="0"/>
              <a:t>for main title</a:t>
            </a:r>
            <a:endParaRPr lang="en-US" dirty="0"/>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pic>
        <p:nvPicPr>
          <p:cNvPr id="11" name="Graphic 10">
            <a:extLst>
              <a:ext uri="{FF2B5EF4-FFF2-40B4-BE49-F238E27FC236}">
                <a16:creationId xmlns:a16="http://schemas.microsoft.com/office/drawing/2014/main" id="{FDA1005D-C174-6644-AA58-EB820552A198}"/>
              </a:ext>
            </a:extLst>
          </p:cNvPr>
          <p:cNvPicPr>
            <a:picLocks noChangeAspect="1"/>
          </p:cNvPicPr>
          <p:nvPr/>
        </p:nvPicPr>
        <p:blipFill>
          <a:blip r:embed="rId7">
            <a:extLst>
              <a:ext uri="{96DAC541-7B7A-43D3-8B79-37D633B846F1}">
                <asvg:svgBlip xmlns="" xmlns:asvg="http://schemas.microsoft.com/office/drawing/2016/SVG/main" r:embed="rId9"/>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36A2096B-1D09-3D42-BA78-B882F2057281}"/>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smtClean="0"/>
              <a:t>Placeholder for a third party or a client logo. Click icon to add logo. Use “Crop” feature on “Format” tab to resize or reposition logo once added. Give the logo equal visual weight as Marsh’s. Delete box if not used.</a:t>
            </a:r>
          </a:p>
        </p:txBody>
      </p:sp>
      <p:sp>
        <p:nvSpPr>
          <p:cNvPr id="12" name="Text Placeholder 3">
            <a:extLst>
              <a:ext uri="{FF2B5EF4-FFF2-40B4-BE49-F238E27FC236}">
                <a16:creationId xmlns:a16="http://schemas.microsoft.com/office/drawing/2014/main" id="{376AD702-0276-0141-A183-937FB3505BA2}"/>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F0B5321B-5321-A64E-90E9-3AC4B69C0ADD}"/>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spTree>
    <p:extLst>
      <p:ext uri="{BB962C8B-B14F-4D97-AF65-F5344CB8AC3E}">
        <p14:creationId xmlns:p14="http://schemas.microsoft.com/office/powerpoint/2010/main" val="28593743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itle slide C">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10708201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2380"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08843" y="2347270"/>
            <a:ext cx="9433657" cy="1519880"/>
          </a:xfrm>
        </p:spPr>
        <p:txBody>
          <a:bodyPr vert="horz"/>
          <a:lstStyle>
            <a:lvl1pPr>
              <a:lnSpc>
                <a:spcPct val="80000"/>
              </a:lnSpc>
              <a:defRPr sz="12000" b="1" i="0" cap="none" baseline="0">
                <a:solidFill>
                  <a:schemeClr val="tx2"/>
                </a:solidFill>
                <a:latin typeface="Arial" panose="020B0604020202020204" pitchFamily="34" charset="0"/>
                <a:cs typeface="Arial" panose="020B0604020202020204" pitchFamily="34" charset="0"/>
              </a:defRPr>
            </a:lvl1pPr>
          </a:lstStyle>
          <a:p>
            <a:r>
              <a:rPr lang="en-US" dirty="0" smtClean="0"/>
              <a:t>Heading 1</a:t>
            </a:r>
            <a:endParaRPr lang="en-US" dirty="0"/>
          </a:p>
        </p:txBody>
      </p:sp>
      <p:sp>
        <p:nvSpPr>
          <p:cNvPr id="3" name="Subtitle 2"/>
          <p:cNvSpPr>
            <a:spLocks noGrp="1"/>
          </p:cNvSpPr>
          <p:nvPr>
            <p:ph type="subTitle" idx="1" hasCustomPrompt="1"/>
          </p:nvPr>
        </p:nvSpPr>
        <p:spPr>
          <a:xfrm>
            <a:off x="465995" y="1784598"/>
            <a:ext cx="9313005" cy="381732"/>
          </a:xfrm>
        </p:spPr>
        <p:txBody>
          <a:bodyPr anchor="b"/>
          <a:lstStyle>
            <a:lvl1pPr marL="0" indent="0" algn="l">
              <a:buNone/>
              <a:defRPr sz="2400" b="1">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ing 2</a:t>
            </a:r>
          </a:p>
        </p:txBody>
      </p:sp>
      <p:sp>
        <p:nvSpPr>
          <p:cNvPr id="8" name="Picture Placeholder 5">
            <a:extLst>
              <a:ext uri="{FF2B5EF4-FFF2-40B4-BE49-F238E27FC236}">
                <a16:creationId xmlns:a16="http://schemas.microsoft.com/office/drawing/2014/main" id="{F83B2B48-1865-EF4B-9973-D5EE72C1B4A1}"/>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smtClean="0"/>
              <a:t>Placeholder for a third party or a client logo. Click icon to add logo. Use “Crop” feature on “Format” tab to resize or reposition logo once added. Give the logo equal visual weight as Marsh’s. Delete box if not used.</a:t>
            </a:r>
          </a:p>
        </p:txBody>
      </p:sp>
      <p:pic>
        <p:nvPicPr>
          <p:cNvPr id="13" name="Graphic 12">
            <a:extLst>
              <a:ext uri="{FF2B5EF4-FFF2-40B4-BE49-F238E27FC236}">
                <a16:creationId xmlns:a16="http://schemas.microsoft.com/office/drawing/2014/main" id="{CB3E854A-C626-6940-8EB7-1215314D076F}"/>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486803" y="341762"/>
            <a:ext cx="1623974" cy="338328"/>
          </a:xfrm>
          <a:prstGeom prst="rect">
            <a:avLst/>
          </a:prstGeom>
        </p:spPr>
      </p:pic>
      <p:sp>
        <p:nvSpPr>
          <p:cNvPr id="11" name="Text Placeholder 3">
            <a:extLst>
              <a:ext uri="{FF2B5EF4-FFF2-40B4-BE49-F238E27FC236}">
                <a16:creationId xmlns:a16="http://schemas.microsoft.com/office/drawing/2014/main" id="{7DCD9D50-BDCD-8D45-9767-5C243626118C}"/>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2" name="Rectangle 11">
            <a:extLst>
              <a:ext uri="{FF2B5EF4-FFF2-40B4-BE49-F238E27FC236}">
                <a16:creationId xmlns:a16="http://schemas.microsoft.com/office/drawing/2014/main" id="{2F37011C-C36F-8D4D-96C4-15011C56AD67}"/>
              </a:ext>
            </a:extLst>
          </p:cNvPr>
          <p:cNvSpPr/>
          <p:nvPr/>
        </p:nvSpPr>
        <p:spPr>
          <a:xfrm>
            <a:off x="485775" y="6257135"/>
            <a:ext cx="1785745" cy="153888"/>
          </a:xfrm>
          <a:prstGeom prst="rect">
            <a:avLst/>
          </a:prstGeom>
        </p:spPr>
        <p:txBody>
          <a:bodyPr wrap="none" lIns="0" tIns="0" rIns="0" bIns="0">
            <a:spAutoFit/>
          </a:bodyPr>
          <a:lstStyle/>
          <a:p>
            <a:r>
              <a:rPr lang="en-US" sz="1000" dirty="0">
                <a:effectLst/>
                <a:latin typeface="Arial" panose="020B0604020202020204" pitchFamily="34" charset="0"/>
              </a:rPr>
              <a:t>A business of Marsh McLennan</a:t>
            </a:r>
            <a:endParaRPr lang="en-US" sz="1000" dirty="0"/>
          </a:p>
        </p:txBody>
      </p:sp>
    </p:spTree>
    <p:extLst>
      <p:ext uri="{BB962C8B-B14F-4D97-AF65-F5344CB8AC3E}">
        <p14:creationId xmlns:p14="http://schemas.microsoft.com/office/powerpoint/2010/main" val="422793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slide C: blue">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39355449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3405"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09829" y="2350190"/>
            <a:ext cx="9429496" cy="1516960"/>
          </a:xfrm>
        </p:spPr>
        <p:txBody>
          <a:bodyPr vert="horz" lIns="0" tIns="0" rIns="0" bIns="0" rtlCol="0" anchor="t">
            <a:noAutofit/>
          </a:bodyPr>
          <a:lstStyle>
            <a:lvl1pPr>
              <a:defRPr lang="en-US" sz="12000" i="0" cap="none" baseline="0" dirty="0">
                <a:solidFill>
                  <a:schemeClr val="bg1"/>
                </a:solidFill>
                <a:latin typeface="Arial" panose="020B0604020202020204" pitchFamily="34" charset="0"/>
                <a:cs typeface="Arial" panose="020B0604020202020204" pitchFamily="34" charset="0"/>
              </a:defRPr>
            </a:lvl1pPr>
          </a:lstStyle>
          <a:p>
            <a:pPr lvl="0"/>
            <a:r>
              <a:rPr lang="en-US" dirty="0" smtClean="0"/>
              <a:t>Heading 1</a:t>
            </a:r>
            <a:endParaRPr lang="en-US" dirty="0"/>
          </a:p>
        </p:txBody>
      </p:sp>
      <p:sp>
        <p:nvSpPr>
          <p:cNvPr id="3" name="Subtitle 2"/>
          <p:cNvSpPr>
            <a:spLocks noGrp="1"/>
          </p:cNvSpPr>
          <p:nvPr>
            <p:ph type="subTitle" idx="1" hasCustomPrompt="1"/>
          </p:nvPr>
        </p:nvSpPr>
        <p:spPr>
          <a:xfrm>
            <a:off x="465201" y="1783080"/>
            <a:ext cx="9310624" cy="384048"/>
          </a:xfrm>
        </p:spPr>
        <p:txBody>
          <a:bodyPr anchor="b"/>
          <a:lstStyle>
            <a:lvl1pPr marL="0" indent="0" algn="l">
              <a:buNone/>
              <a:defRPr sz="24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ing 2</a:t>
            </a:r>
          </a:p>
        </p:txBody>
      </p:sp>
      <p:sp>
        <p:nvSpPr>
          <p:cNvPr id="8" name="Picture Placeholder 5">
            <a:extLst>
              <a:ext uri="{FF2B5EF4-FFF2-40B4-BE49-F238E27FC236}">
                <a16:creationId xmlns:a16="http://schemas.microsoft.com/office/drawing/2014/main" id="{2443E10E-D359-3B49-9FDB-877AADFF144B}"/>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smtClean="0"/>
              <a:t>Placeholder for a third party or a client logo. Click icon to add logo. Use “Crop” feature on “Format” tab to resize or reposition logo once added. Give the logo equal visual weight as Marsh’s. Delete box if not used.</a:t>
            </a:r>
          </a:p>
        </p:txBody>
      </p:sp>
      <p:pic>
        <p:nvPicPr>
          <p:cNvPr id="13" name="Graphic 12">
            <a:extLst>
              <a:ext uri="{FF2B5EF4-FFF2-40B4-BE49-F238E27FC236}">
                <a16:creationId xmlns:a16="http://schemas.microsoft.com/office/drawing/2014/main" id="{D426043B-0359-FC46-BCF1-DAFF274E7589}"/>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486803" y="341762"/>
            <a:ext cx="1623974" cy="338328"/>
          </a:xfrm>
          <a:prstGeom prst="rect">
            <a:avLst/>
          </a:prstGeom>
        </p:spPr>
      </p:pic>
      <p:sp>
        <p:nvSpPr>
          <p:cNvPr id="11" name="Text Placeholder 3">
            <a:extLst>
              <a:ext uri="{FF2B5EF4-FFF2-40B4-BE49-F238E27FC236}">
                <a16:creationId xmlns:a16="http://schemas.microsoft.com/office/drawing/2014/main" id="{07BC8A92-AD16-9240-917F-017431DBB319}"/>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2" name="Rectangle 11">
            <a:extLst>
              <a:ext uri="{FF2B5EF4-FFF2-40B4-BE49-F238E27FC236}">
                <a16:creationId xmlns:a16="http://schemas.microsoft.com/office/drawing/2014/main" id="{F751746A-3C5A-ED4C-8A74-566F52CC4087}"/>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spTree>
    <p:extLst>
      <p:ext uri="{BB962C8B-B14F-4D97-AF65-F5344CB8AC3E}">
        <p14:creationId xmlns:p14="http://schemas.microsoft.com/office/powerpoint/2010/main" val="13266378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27550181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492"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C57F4E2F-BA25-A740-A97C-6060BBEA4B3C}"/>
              </a:ext>
            </a:extLst>
          </p:cNvPr>
          <p:cNvSpPr>
            <a:spLocks noGrp="1"/>
          </p:cNvSpPr>
          <p:nvPr>
            <p:ph sz="quarter" idx="12"/>
          </p:nvPr>
        </p:nvSpPr>
        <p:spPr>
          <a:xfrm>
            <a:off x="4305300" y="361950"/>
            <a:ext cx="7400923" cy="575627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3" name="Title 2">
            <a:extLst>
              <a:ext uri="{FF2B5EF4-FFF2-40B4-BE49-F238E27FC236}">
                <a16:creationId xmlns:a16="http://schemas.microsoft.com/office/drawing/2014/main" id="{0DD3F4F7-9124-C547-A701-15854901D947}"/>
              </a:ext>
            </a:extLst>
          </p:cNvPr>
          <p:cNvSpPr>
            <a:spLocks noGrp="1"/>
          </p:cNvSpPr>
          <p:nvPr>
            <p:ph type="title" hasCustomPrompt="1"/>
          </p:nvPr>
        </p:nvSpPr>
        <p:spPr>
          <a:xfrm>
            <a:off x="458721" y="356540"/>
            <a:ext cx="3605279" cy="5770271"/>
          </a:xfrm>
        </p:spPr>
        <p:txBody>
          <a:bodyPr/>
          <a:lstStyle/>
          <a:p>
            <a:r>
              <a:rPr lang="en-US" dirty="0"/>
              <a:t>Click to add title</a:t>
            </a:r>
          </a:p>
        </p:txBody>
      </p:sp>
    </p:spTree>
    <p:extLst>
      <p:ext uri="{BB962C8B-B14F-4D97-AF65-F5344CB8AC3E}">
        <p14:creationId xmlns:p14="http://schemas.microsoft.com/office/powerpoint/2010/main" val="44210493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C: gradient">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41800169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4429"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09829" y="2350190"/>
            <a:ext cx="9429496" cy="1516960"/>
          </a:xfrm>
        </p:spPr>
        <p:txBody>
          <a:bodyPr vert="horz" lIns="0" tIns="0" rIns="0" bIns="0" rtlCol="0" anchor="t">
            <a:noAutofit/>
          </a:bodyPr>
          <a:lstStyle>
            <a:lvl1pPr>
              <a:defRPr lang="en-US" sz="12000" i="0" cap="none" baseline="0" dirty="0">
                <a:solidFill>
                  <a:schemeClr val="bg1"/>
                </a:solidFill>
                <a:latin typeface="Arial" panose="020B0604020202020204" pitchFamily="34" charset="0"/>
                <a:cs typeface="Arial" panose="020B0604020202020204" pitchFamily="34" charset="0"/>
              </a:defRPr>
            </a:lvl1pPr>
          </a:lstStyle>
          <a:p>
            <a:pPr lvl="0"/>
            <a:r>
              <a:rPr lang="en-US" dirty="0" smtClean="0"/>
              <a:t>Heading 1</a:t>
            </a:r>
            <a:endParaRPr lang="en-US" dirty="0"/>
          </a:p>
        </p:txBody>
      </p:sp>
      <p:sp>
        <p:nvSpPr>
          <p:cNvPr id="3" name="Subtitle 2"/>
          <p:cNvSpPr>
            <a:spLocks noGrp="1"/>
          </p:cNvSpPr>
          <p:nvPr>
            <p:ph type="subTitle" idx="1" hasCustomPrompt="1"/>
          </p:nvPr>
        </p:nvSpPr>
        <p:spPr>
          <a:xfrm>
            <a:off x="465201" y="1783080"/>
            <a:ext cx="9310624" cy="384048"/>
          </a:xfrm>
        </p:spPr>
        <p:txBody>
          <a:bodyPr anchor="b"/>
          <a:lstStyle>
            <a:lvl1pPr marL="0" indent="0" algn="l">
              <a:buNone/>
              <a:defRPr sz="24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ing 2</a:t>
            </a:r>
          </a:p>
        </p:txBody>
      </p:sp>
      <p:sp>
        <p:nvSpPr>
          <p:cNvPr id="8" name="Picture Placeholder 5">
            <a:extLst>
              <a:ext uri="{FF2B5EF4-FFF2-40B4-BE49-F238E27FC236}">
                <a16:creationId xmlns:a16="http://schemas.microsoft.com/office/drawing/2014/main" id="{F55BF0EB-E95B-664F-A15D-0229B8770981}"/>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smtClean="0"/>
              <a:t>Placeholder for a third party or a client logo. Click icon to add logo. Use “Crop” feature on “Format” tab to resize or reposition logo once added. Give the logo equal visual weight as Marsh’s. Delete box if not used.</a:t>
            </a:r>
          </a:p>
        </p:txBody>
      </p:sp>
      <p:pic>
        <p:nvPicPr>
          <p:cNvPr id="13" name="Graphic 12">
            <a:extLst>
              <a:ext uri="{FF2B5EF4-FFF2-40B4-BE49-F238E27FC236}">
                <a16:creationId xmlns:a16="http://schemas.microsoft.com/office/drawing/2014/main" id="{1BA474F9-B22C-C040-A8F5-54032CC0E974}"/>
              </a:ext>
            </a:extLst>
          </p:cNvPr>
          <p:cNvPicPr>
            <a:picLocks noChangeAspect="1"/>
          </p:cNvPicPr>
          <p:nvPr/>
        </p:nvPicPr>
        <p:blipFill>
          <a:blip r:embed="rId7">
            <a:extLst>
              <a:ext uri="{96DAC541-7B7A-43D3-8B79-37D633B846F1}">
                <asvg:svgBlip xmlns="" xmlns:asvg="http://schemas.microsoft.com/office/drawing/2016/SVG/main" r:embed="rId9"/>
              </a:ext>
            </a:extLst>
          </a:blip>
          <a:stretch>
            <a:fillRect/>
          </a:stretch>
        </p:blipFill>
        <p:spPr>
          <a:xfrm>
            <a:off x="486803" y="341762"/>
            <a:ext cx="1623974" cy="338328"/>
          </a:xfrm>
          <a:prstGeom prst="rect">
            <a:avLst/>
          </a:prstGeom>
        </p:spPr>
      </p:pic>
      <p:sp>
        <p:nvSpPr>
          <p:cNvPr id="14" name="Text Placeholder 3">
            <a:extLst>
              <a:ext uri="{FF2B5EF4-FFF2-40B4-BE49-F238E27FC236}">
                <a16:creationId xmlns:a16="http://schemas.microsoft.com/office/drawing/2014/main" id="{BE2A3662-8B11-554F-91F3-6F854BB72FA3}"/>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5" name="Rectangle 14">
            <a:extLst>
              <a:ext uri="{FF2B5EF4-FFF2-40B4-BE49-F238E27FC236}">
                <a16:creationId xmlns:a16="http://schemas.microsoft.com/office/drawing/2014/main" id="{147B2DAB-CB78-D146-B818-52855D95EA0D}"/>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spTree>
    <p:extLst>
      <p:ext uri="{BB962C8B-B14F-4D97-AF65-F5344CB8AC3E}">
        <p14:creationId xmlns:p14="http://schemas.microsoft.com/office/powerpoint/2010/main" val="37638526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COVERS JOINT BUSINES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2"/>
            </p:custDataLst>
            <p:extLst>
              <p:ext uri="{D42A27DB-BD31-4B8C-83A1-F6EECF244321}">
                <p14:modId xmlns:p14="http://schemas.microsoft.com/office/powerpoint/2010/main" val="248286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7501"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52E706-1FE4-5448-BF88-BDD1A5847DF0}"/>
              </a:ext>
            </a:extLst>
          </p:cNvPr>
          <p:cNvSpPr txBox="1"/>
          <p:nvPr/>
        </p:nvSpPr>
        <p:spPr>
          <a:xfrm>
            <a:off x="374977" y="1582341"/>
            <a:ext cx="10345781" cy="3693319"/>
          </a:xfrm>
          <a:prstGeom prst="rect">
            <a:avLst/>
          </a:prstGeom>
          <a:noFill/>
        </p:spPr>
        <p:txBody>
          <a:bodyPr wrap="none" lIns="0" tIns="0" rIns="0" bIns="0" rtlCol="0" anchor="ctr">
            <a:spAutoFit/>
          </a:bodyPr>
          <a:lstStyle/>
          <a:p>
            <a:pPr algn="l"/>
            <a:r>
              <a:rPr lang="en-US" sz="12000" b="1" i="0" dirty="0" smtClean="0">
                <a:solidFill>
                  <a:schemeClr val="bg1"/>
                </a:solidFill>
                <a:latin typeface="Arial" panose="020B0604020202020204" pitchFamily="34" charset="0"/>
                <a:cs typeface="Arial" panose="020B0604020202020204" pitchFamily="34" charset="0"/>
              </a:rPr>
              <a:t>Covers for a</a:t>
            </a:r>
          </a:p>
          <a:p>
            <a:pPr algn="l"/>
            <a:r>
              <a:rPr lang="en-US" sz="12000" b="1" i="0" dirty="0" smtClean="0">
                <a:solidFill>
                  <a:schemeClr val="bg1"/>
                </a:solidFill>
                <a:latin typeface="Arial" panose="020B0604020202020204" pitchFamily="34" charset="0"/>
                <a:cs typeface="Arial" panose="020B0604020202020204" pitchFamily="34" charset="0"/>
              </a:rPr>
              <a:t>joint busines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4510692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itle slide A: stripe/log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8524"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5793"/>
            <a:ext cx="9365488" cy="1602882"/>
          </a:xfrm>
        </p:spPr>
        <p:txBody>
          <a:bodyPr vert="horz"/>
          <a:lstStyle>
            <a:lvl1pPr>
              <a:lnSpc>
                <a:spcPct val="90000"/>
              </a:lnSpc>
              <a:defRPr sz="6000" b="1" i="0" cap="none" baseline="0">
                <a:latin typeface="Arial" panose="020B0604020202020204" pitchFamily="34" charset="0"/>
                <a:cs typeface="Arial" panose="020B0604020202020204" pitchFamily="34" charset="0"/>
              </a:defRPr>
            </a:lvl1pPr>
          </a:lstStyle>
          <a:p>
            <a:r>
              <a:rPr lang="en-US" dirty="0" smtClean="0"/>
              <a:t>This is a placeholder </a:t>
            </a:r>
            <a:br>
              <a:rPr lang="en-US" dirty="0" smtClean="0"/>
            </a:br>
            <a:r>
              <a:rPr lang="en-US" dirty="0" smtClean="0"/>
              <a:t>for main title</a:t>
            </a:r>
            <a:endParaRPr lang="en-US" dirty="0"/>
          </a:p>
        </p:txBody>
      </p:sp>
      <p:sp>
        <p:nvSpPr>
          <p:cNvPr id="3" name="Subtitle 2"/>
          <p:cNvSpPr>
            <a:spLocks noGrp="1"/>
          </p:cNvSpPr>
          <p:nvPr>
            <p:ph type="subTitle" idx="1" hasCustomPrompt="1"/>
          </p:nvPr>
        </p:nvSpPr>
        <p:spPr>
          <a:xfrm>
            <a:off x="462026" y="3560887"/>
            <a:ext cx="9310624"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8" name="Picture Placeholder 5">
            <a:extLst>
              <a:ext uri="{FF2B5EF4-FFF2-40B4-BE49-F238E27FC236}">
                <a16:creationId xmlns:a16="http://schemas.microsoft.com/office/drawing/2014/main" id="{6AA4DE2D-F68B-BB43-AF2C-40B2A7B333AD}"/>
              </a:ext>
            </a:extLst>
          </p:cNvPr>
          <p:cNvSpPr>
            <a:spLocks noGrp="1" noChangeAspect="1"/>
          </p:cNvSpPr>
          <p:nvPr>
            <p:ph type="pic" sz="quarter" idx="12" hasCustomPrompt="1"/>
          </p:nvPr>
        </p:nvSpPr>
        <p:spPr>
          <a:xfrm>
            <a:off x="2202227" y="341143"/>
            <a:ext cx="2863215" cy="342900"/>
          </a:xfrm>
          <a:noFill/>
        </p:spPr>
        <p:txBody>
          <a:bodyPr anchor="t" anchorCtr="0"/>
          <a:lstStyle>
            <a:lvl1pPr algn="l">
              <a:spcBef>
                <a:spcPts val="0"/>
              </a:spcBef>
              <a:spcAft>
                <a:spcPts val="0"/>
              </a:spcAft>
              <a:defRPr sz="1000" baseline="0">
                <a:solidFill>
                  <a:srgbClr val="FF0000"/>
                </a:solidFill>
              </a:defRPr>
            </a:lvl1pPr>
          </a:lstStyle>
          <a:p>
            <a:r>
              <a:rPr lang="en-US" dirty="0"/>
              <a:t>Placeholder for </a:t>
            </a:r>
            <a:r>
              <a:rPr lang="en-US" dirty="0" smtClean="0"/>
              <a:t>collaborator (MMC business) logo. </a:t>
            </a:r>
            <a:r>
              <a:rPr lang="en-US" dirty="0"/>
              <a:t/>
            </a:r>
            <a:br>
              <a:rPr lang="en-US" dirty="0"/>
            </a:br>
            <a:r>
              <a:rPr lang="en-US" dirty="0"/>
              <a:t>Delete box if not used.</a:t>
            </a:r>
          </a:p>
        </p:txBody>
      </p:sp>
      <p:pic>
        <p:nvPicPr>
          <p:cNvPr id="11" name="Graphic 10">
            <a:extLst>
              <a:ext uri="{FF2B5EF4-FFF2-40B4-BE49-F238E27FC236}">
                <a16:creationId xmlns:a16="http://schemas.microsoft.com/office/drawing/2014/main" id="{4D8D969B-1ECE-2C44-8889-FF09503BD87E}"/>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486803" y="341762"/>
            <a:ext cx="1623974" cy="338328"/>
          </a:xfrm>
          <a:prstGeom prst="rect">
            <a:avLst/>
          </a:prstGeom>
        </p:spPr>
      </p:pic>
      <p:sp>
        <p:nvSpPr>
          <p:cNvPr id="12" name="Picture Placeholder 5">
            <a:extLst>
              <a:ext uri="{FF2B5EF4-FFF2-40B4-BE49-F238E27FC236}">
                <a16:creationId xmlns:a16="http://schemas.microsoft.com/office/drawing/2014/main" id="{080A16FD-0635-534B-8EF0-AC82A24FE50A}"/>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smtClean="0"/>
              <a:t>Placeholder for a third party or a client logo. Click icon to add logo. Use “Crop” feature on “Format” tab to resize or reposition logo once added. Give the logo equal visual weight as Marsh’s. Delete box if not used.</a:t>
            </a:r>
          </a:p>
        </p:txBody>
      </p:sp>
      <p:sp>
        <p:nvSpPr>
          <p:cNvPr id="13" name="Text Placeholder 3">
            <a:extLst>
              <a:ext uri="{FF2B5EF4-FFF2-40B4-BE49-F238E27FC236}">
                <a16:creationId xmlns:a16="http://schemas.microsoft.com/office/drawing/2014/main" id="{7731C4F9-CCD2-1349-A6C5-1F63598D3F2C}"/>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779E8AEE-4750-3448-90BB-1CA12B7B33ED}"/>
              </a:ext>
            </a:extLst>
          </p:cNvPr>
          <p:cNvSpPr/>
          <p:nvPr/>
        </p:nvSpPr>
        <p:spPr>
          <a:xfrm>
            <a:off x="485775" y="6257135"/>
            <a:ext cx="1814599" cy="153888"/>
          </a:xfrm>
          <a:prstGeom prst="rect">
            <a:avLst/>
          </a:prstGeom>
        </p:spPr>
        <p:txBody>
          <a:bodyPr wrap="none" lIns="0" tIns="0" rIns="0" bIns="0">
            <a:spAutoFit/>
          </a:bodyPr>
          <a:lstStyle/>
          <a:p>
            <a:r>
              <a:rPr lang="en-US" sz="1000" dirty="0">
                <a:solidFill>
                  <a:schemeClr val="tx1"/>
                </a:solidFill>
                <a:effectLst/>
                <a:latin typeface="Arial" panose="020B0604020202020204" pitchFamily="34" charset="0"/>
              </a:rPr>
              <a:t>Businesses of Marsh McLennan</a:t>
            </a:r>
            <a:endParaRPr lang="en-US" sz="1000" dirty="0">
              <a:solidFill>
                <a:schemeClr val="tx1"/>
              </a:solidFill>
            </a:endParaRPr>
          </a:p>
        </p:txBody>
      </p:sp>
    </p:spTree>
    <p:extLst>
      <p:ext uri="{BB962C8B-B14F-4D97-AF65-F5344CB8AC3E}">
        <p14:creationId xmlns:p14="http://schemas.microsoft.com/office/powerpoint/2010/main" val="31289087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itle slide A: blue - stripe/logo">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6858612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9548"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sz="6000" b="1" i="0" cap="none" baseline="0">
                <a:solidFill>
                  <a:schemeClr val="bg1"/>
                </a:solidFill>
                <a:latin typeface="Arial" panose="020B0604020202020204" pitchFamily="34" charset="0"/>
                <a:cs typeface="Arial" panose="020B0604020202020204" pitchFamily="34" charset="0"/>
              </a:defRPr>
            </a:lvl1pPr>
          </a:lstStyle>
          <a:p>
            <a:r>
              <a:rPr lang="en-US" dirty="0" smtClean="0"/>
              <a:t>This is a placeholder </a:t>
            </a:r>
            <a:br>
              <a:rPr lang="en-US" dirty="0" smtClean="0"/>
            </a:br>
            <a:r>
              <a:rPr lang="en-US" dirty="0" smtClean="0"/>
              <a:t>for main title</a:t>
            </a:r>
            <a:endParaRPr lang="en-US" dirty="0"/>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a:p>
            <a:endParaRPr lang="en-US" dirty="0"/>
          </a:p>
        </p:txBody>
      </p:sp>
      <p:sp>
        <p:nvSpPr>
          <p:cNvPr id="10" name="Picture Placeholder 5">
            <a:extLst>
              <a:ext uri="{FF2B5EF4-FFF2-40B4-BE49-F238E27FC236}">
                <a16:creationId xmlns:a16="http://schemas.microsoft.com/office/drawing/2014/main" id="{CD55AD5D-7D50-4F42-A265-20F46833B070}"/>
              </a:ext>
            </a:extLst>
          </p:cNvPr>
          <p:cNvSpPr>
            <a:spLocks noGrp="1" noChangeAspect="1"/>
          </p:cNvSpPr>
          <p:nvPr>
            <p:ph type="pic" sz="quarter" idx="12" hasCustomPrompt="1"/>
          </p:nvPr>
        </p:nvSpPr>
        <p:spPr>
          <a:xfrm>
            <a:off x="2202227" y="341143"/>
            <a:ext cx="2863215" cy="342900"/>
          </a:xfrm>
          <a:noFill/>
        </p:spPr>
        <p:txBody>
          <a:bodyPr anchor="t" anchorCtr="0"/>
          <a:lstStyle>
            <a:lvl1pPr algn="l">
              <a:spcBef>
                <a:spcPts val="0"/>
              </a:spcBef>
              <a:spcAft>
                <a:spcPts val="0"/>
              </a:spcAft>
              <a:defRPr sz="1000">
                <a:solidFill>
                  <a:srgbClr val="FF0000"/>
                </a:solidFill>
              </a:defRPr>
            </a:lvl1pPr>
          </a:lstStyle>
          <a:p>
            <a:r>
              <a:rPr lang="en-US" dirty="0" smtClean="0"/>
              <a:t>Placeholder for collaborator (MMC business) logo. </a:t>
            </a:r>
            <a:br>
              <a:rPr lang="en-US" dirty="0" smtClean="0"/>
            </a:br>
            <a:r>
              <a:rPr lang="en-US" dirty="0" smtClean="0"/>
              <a:t>Delete box if not used.</a:t>
            </a:r>
            <a:endParaRPr lang="en-US" dirty="0"/>
          </a:p>
        </p:txBody>
      </p:sp>
      <p:pic>
        <p:nvPicPr>
          <p:cNvPr id="11" name="Graphic 10">
            <a:extLst>
              <a:ext uri="{FF2B5EF4-FFF2-40B4-BE49-F238E27FC236}">
                <a16:creationId xmlns:a16="http://schemas.microsoft.com/office/drawing/2014/main" id="{8592E6A1-8C6D-B446-81B7-94340E3547DD}"/>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047A2875-C8A1-A446-8F58-D4B2DE1E532B}"/>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smtClean="0"/>
              <a:t>Placeholder for a third party or a client logo. Click icon to add logo. Use “Crop” feature on “Format” tab to resize or reposition logo once added. Give the logo equal visual weight as Marsh’s. Delete box if not used.</a:t>
            </a:r>
          </a:p>
        </p:txBody>
      </p:sp>
      <p:sp>
        <p:nvSpPr>
          <p:cNvPr id="14" name="Text Placeholder 3">
            <a:extLst>
              <a:ext uri="{FF2B5EF4-FFF2-40B4-BE49-F238E27FC236}">
                <a16:creationId xmlns:a16="http://schemas.microsoft.com/office/drawing/2014/main" id="{2E6207F1-15CB-6546-A549-DF244E46D6F3}"/>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5" name="Rectangle 14">
            <a:extLst>
              <a:ext uri="{FF2B5EF4-FFF2-40B4-BE49-F238E27FC236}">
                <a16:creationId xmlns:a16="http://schemas.microsoft.com/office/drawing/2014/main" id="{35F05B11-D474-A04D-8E61-5AEFD7224969}"/>
              </a:ext>
            </a:extLst>
          </p:cNvPr>
          <p:cNvSpPr/>
          <p:nvPr/>
        </p:nvSpPr>
        <p:spPr>
          <a:xfrm>
            <a:off x="485775" y="6257135"/>
            <a:ext cx="1814599"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Businesses of Marsh McLennan</a:t>
            </a:r>
            <a:endParaRPr lang="en-US" sz="1000" dirty="0">
              <a:solidFill>
                <a:schemeClr val="bg1"/>
              </a:solidFill>
            </a:endParaRPr>
          </a:p>
        </p:txBody>
      </p:sp>
    </p:spTree>
    <p:extLst>
      <p:ext uri="{BB962C8B-B14F-4D97-AF65-F5344CB8AC3E}">
        <p14:creationId xmlns:p14="http://schemas.microsoft.com/office/powerpoint/2010/main" val="31716763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AGENDA + CONTENT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extLst>
              <p:ext uri="{D42A27DB-BD31-4B8C-83A1-F6EECF244321}">
                <p14:modId xmlns:p14="http://schemas.microsoft.com/office/powerpoint/2010/main" val="9489628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8045"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5064E14D-7EB8-984D-B09A-CDFF8DFEAAB9}"/>
              </a:ext>
            </a:extLst>
          </p:cNvPr>
          <p:cNvSpPr txBox="1"/>
          <p:nvPr/>
        </p:nvSpPr>
        <p:spPr>
          <a:xfrm>
            <a:off x="374977" y="1582341"/>
            <a:ext cx="7824258" cy="3693319"/>
          </a:xfrm>
          <a:prstGeom prst="rect">
            <a:avLst/>
          </a:prstGeom>
          <a:noFill/>
        </p:spPr>
        <p:txBody>
          <a:bodyPr wrap="none" lIns="0" tIns="0" rIns="0" bIns="0" rtlCol="0" anchor="ctr">
            <a:spAutoFit/>
          </a:bodyPr>
          <a:lstStyle/>
          <a:p>
            <a:pPr algn="l"/>
            <a:r>
              <a:rPr lang="en-US" sz="12000" b="1" i="0" dirty="0" smtClean="0">
                <a:solidFill>
                  <a:schemeClr val="bg1"/>
                </a:solidFill>
                <a:latin typeface="Arial" panose="020B0604020202020204" pitchFamily="34" charset="0"/>
                <a:cs typeface="Arial" panose="020B0604020202020204" pitchFamily="34" charset="0"/>
              </a:rPr>
              <a:t>Agendas +</a:t>
            </a:r>
          </a:p>
          <a:p>
            <a:pPr algn="l"/>
            <a:r>
              <a:rPr lang="en-US" sz="12000" b="1" i="0" dirty="0" smtClean="0">
                <a:solidFill>
                  <a:schemeClr val="bg1"/>
                </a:solidFill>
                <a:latin typeface="Arial" panose="020B0604020202020204" pitchFamily="34" charset="0"/>
                <a:cs typeface="Arial" panose="020B0604020202020204" pitchFamily="34" charset="0"/>
              </a:rPr>
              <a:t>Content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637241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extLst>
              <p:ext uri="{D42A27DB-BD31-4B8C-83A1-F6EECF244321}">
                <p14:modId xmlns:p14="http://schemas.microsoft.com/office/powerpoint/2010/main" val="29252416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9068"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1950"/>
            <a:ext cx="5495925" cy="5759450"/>
          </a:xfrm>
        </p:spPr>
        <p:txBody>
          <a:bodyPr/>
          <a:lstStyle>
            <a:lvl1pPr marL="233363" indent="-233363">
              <a:lnSpc>
                <a:spcPct val="90000"/>
              </a:lnSpc>
              <a:spcBef>
                <a:spcPts val="600"/>
              </a:spcBef>
              <a:buFont typeface="+mj-lt"/>
              <a:buAutoNum type="arabicPeriod"/>
              <a:tabLst/>
              <a:defRPr/>
            </a:lvl1pPr>
            <a:lvl2pPr marL="461963" indent="-230188">
              <a:buFont typeface="Arial" panose="020B0604020202020204" pitchFamily="34" charset="0"/>
              <a:buChar char="•"/>
              <a:defRPr baseline="0"/>
            </a:lvl2pPr>
            <a:lvl3pPr marL="685800" indent="-228600">
              <a:defRPr baseline="0"/>
            </a:lvl3pPr>
            <a:lvl4pPr marL="914400" indent="-228600">
              <a:defRPr baseline="0"/>
            </a:lvl4pPr>
            <a:lvl5pPr marL="1143000" indent="-228600">
              <a:defRPr baseline="0"/>
            </a:lvl5pPr>
            <a:lvl6pPr marL="1371600" indent="-227013">
              <a:defRPr baseline="0"/>
            </a:lvl6pPr>
            <a:lvl7pPr marL="1600200" indent="-228600">
              <a:defRPr baseline="0"/>
            </a:lvl7pPr>
            <a:lvl8pPr marL="1828800" indent="-227013">
              <a:defRPr/>
            </a:lvl8pPr>
            <a:lvl9pPr marL="1828800" indent="0">
              <a:buFont typeface="Arial" panose="020B0604020202020204" pitchFamily="34" charset="0"/>
              <a:buNone/>
              <a:defRPr baseline="0"/>
            </a:lvl9pPr>
          </a:lstStyle>
          <a:p>
            <a:pPr lvl="0"/>
            <a:r>
              <a:rPr lang="en-US" dirty="0"/>
              <a:t>Click to add </a:t>
            </a:r>
            <a:r>
              <a:rPr lang="en-US" dirty="0" smtClean="0"/>
              <a:t>topic</a:t>
            </a:r>
            <a:endParaRPr lang="en-US" dirty="0"/>
          </a:p>
        </p:txBody>
      </p:sp>
      <p:sp>
        <p:nvSpPr>
          <p:cNvPr id="7"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85775" y="4901386"/>
            <a:ext cx="11223626" cy="1846659"/>
          </a:xfrm>
        </p:spPr>
        <p:txBody>
          <a:bodyPr vert="horz" wrap="square">
            <a:spAutoFit/>
          </a:bodyPr>
          <a:lstStyle>
            <a:lvl1pPr algn="r">
              <a:lnSpc>
                <a:spcPct val="100000"/>
              </a:lnSpc>
              <a:defRPr sz="12000"/>
            </a:lvl1pPr>
          </a:lstStyle>
          <a:p>
            <a:r>
              <a:rPr lang="en-US" dirty="0" smtClean="0"/>
              <a:t>Add title</a:t>
            </a:r>
            <a:endParaRPr lang="en-US" dirty="0"/>
          </a:p>
        </p:txBody>
      </p:sp>
    </p:spTree>
    <p:extLst>
      <p:ext uri="{BB962C8B-B14F-4D97-AF65-F5344CB8AC3E}">
        <p14:creationId xmlns:p14="http://schemas.microsoft.com/office/powerpoint/2010/main" val="7743562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Agenda: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extLst>
              <p:ext uri="{D42A27DB-BD31-4B8C-83A1-F6EECF244321}">
                <p14:modId xmlns:p14="http://schemas.microsoft.com/office/powerpoint/2010/main" val="24102159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092"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1950"/>
            <a:ext cx="5495925" cy="5759450"/>
          </a:xfrm>
        </p:spPr>
        <p:txBody>
          <a:bodyPr/>
          <a:lstStyle>
            <a:lvl1pPr marL="233363" indent="-233363">
              <a:lnSpc>
                <a:spcPct val="90000"/>
              </a:lnSpc>
              <a:spcBef>
                <a:spcPts val="600"/>
              </a:spcBef>
              <a:buFont typeface="+mj-lt"/>
              <a:buAutoNum type="arabicPeriod"/>
              <a:tabLst/>
              <a:defRPr>
                <a:solidFill>
                  <a:schemeClr val="bg1"/>
                </a:solidFill>
              </a:defRPr>
            </a:lvl1pPr>
            <a:lvl2pPr marL="512763" indent="-285750">
              <a:buFont typeface="Arial" panose="020B0604020202020204" pitchFamily="34" charset="0"/>
              <a:buChar char="•"/>
              <a:defRPr>
                <a:solidFill>
                  <a:schemeClr val="bg1"/>
                </a:solidFill>
              </a:defRPr>
            </a:lvl2pPr>
            <a:lvl3pPr marL="685800" indent="-228600">
              <a:defRPr>
                <a:solidFill>
                  <a:schemeClr val="bg1"/>
                </a:solidFill>
              </a:defRPr>
            </a:lvl3pPr>
            <a:lvl4pPr marL="914400" indent="-228600">
              <a:defRPr>
                <a:solidFill>
                  <a:schemeClr val="bg1"/>
                </a:solidFill>
              </a:defRPr>
            </a:lvl4pPr>
            <a:lvl5pPr marL="1143000" indent="-228600">
              <a:defRPr baseline="0">
                <a:solidFill>
                  <a:schemeClr val="bg1"/>
                </a:solidFill>
              </a:defRPr>
            </a:lvl5pPr>
            <a:lvl6pPr marL="1371600" indent="-227013">
              <a:defRPr baseline="0">
                <a:solidFill>
                  <a:schemeClr val="bg1"/>
                </a:solidFill>
              </a:defRPr>
            </a:lvl6pPr>
            <a:lvl7pPr marL="1600200" indent="-228600">
              <a:defRPr baseline="0">
                <a:solidFill>
                  <a:schemeClr val="bg1"/>
                </a:solidFill>
              </a:defRPr>
            </a:lvl7pPr>
            <a:lvl8pPr marL="1828800" indent="-227013">
              <a:defRPr baseline="0">
                <a:solidFill>
                  <a:schemeClr val="bg1"/>
                </a:solidFill>
              </a:defRPr>
            </a:lvl8pPr>
            <a:lvl9pPr marL="2057400" indent="-219075">
              <a:defRPr baseline="0">
                <a:solidFill>
                  <a:schemeClr val="bg1"/>
                </a:solidFill>
              </a:defRPr>
            </a:lvl9pPr>
          </a:lstStyle>
          <a:p>
            <a:pPr lvl="0"/>
            <a:r>
              <a:rPr lang="en-US" dirty="0" smtClean="0"/>
              <a:t>Click to add topic</a:t>
            </a:r>
          </a:p>
        </p:txBody>
      </p:sp>
      <p:sp>
        <p:nvSpPr>
          <p:cNvPr id="7"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85775" y="4901386"/>
            <a:ext cx="11223626" cy="1846659"/>
          </a:xfrm>
        </p:spPr>
        <p:txBody>
          <a:bodyPr vert="horz" wrap="square">
            <a:spAutoFit/>
          </a:bodyPr>
          <a:lstStyle>
            <a:lvl1pPr algn="r">
              <a:lnSpc>
                <a:spcPct val="100000"/>
              </a:lnSpc>
              <a:defRPr sz="12000">
                <a:solidFill>
                  <a:schemeClr val="bg1"/>
                </a:solidFill>
              </a:defRPr>
            </a:lvl1pPr>
          </a:lstStyle>
          <a:p>
            <a:r>
              <a:rPr lang="en-US" dirty="0" smtClean="0"/>
              <a:t>Add title</a:t>
            </a:r>
            <a:endParaRPr lang="en-US" dirty="0"/>
          </a:p>
        </p:txBody>
      </p:sp>
    </p:spTree>
    <p:extLst>
      <p:ext uri="{BB962C8B-B14F-4D97-AF65-F5344CB8AC3E}">
        <p14:creationId xmlns:p14="http://schemas.microsoft.com/office/powerpoint/2010/main" val="23191531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DIVID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9754"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5064E14D-7EB8-984D-B09A-CDFF8DFEAAB9}"/>
              </a:ext>
            </a:extLst>
          </p:cNvPr>
          <p:cNvSpPr txBox="1"/>
          <p:nvPr/>
        </p:nvSpPr>
        <p:spPr>
          <a:xfrm>
            <a:off x="374977" y="2505671"/>
            <a:ext cx="6073779" cy="1846659"/>
          </a:xfrm>
          <a:prstGeom prst="rect">
            <a:avLst/>
          </a:prstGeom>
          <a:noFill/>
        </p:spPr>
        <p:txBody>
          <a:bodyPr wrap="none" lIns="0" tIns="0" rIns="0" bIns="0" rtlCol="0" anchor="ctr">
            <a:spAutoFit/>
          </a:bodyPr>
          <a:lstStyle/>
          <a:p>
            <a:pPr algn="l"/>
            <a:r>
              <a:rPr lang="en-US" sz="12000" b="1" i="0" dirty="0" smtClean="0">
                <a:solidFill>
                  <a:schemeClr val="bg1"/>
                </a:solidFill>
                <a:latin typeface="Arial" panose="020B0604020202020204" pitchFamily="34" charset="0"/>
                <a:cs typeface="Arial" panose="020B0604020202020204" pitchFamily="34" charset="0"/>
              </a:rPr>
              <a:t>Divider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651965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2"/>
            </p:custDataLst>
            <p:extLst>
              <p:ext uri="{D42A27DB-BD31-4B8C-83A1-F6EECF244321}">
                <p14:modId xmlns:p14="http://schemas.microsoft.com/office/powerpoint/2010/main" val="19102434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1116"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1"/>
          <p:cNvSpPr>
            <a:spLocks noGrp="1"/>
          </p:cNvSpPr>
          <p:nvPr>
            <p:ph type="title" hasCustomPrompt="1"/>
          </p:nvPr>
        </p:nvSpPr>
        <p:spPr>
          <a:xfrm>
            <a:off x="482600" y="265694"/>
            <a:ext cx="8356600" cy="5855705"/>
          </a:xfrm>
        </p:spPr>
        <p:txBody>
          <a:bodyPr/>
          <a:lstStyle>
            <a:lvl1pPr>
              <a:lnSpc>
                <a:spcPct val="90000"/>
              </a:lnSpc>
              <a:defRPr sz="5400"/>
            </a:lvl1pPr>
          </a:lstStyle>
          <a:p>
            <a:pPr lvl="0"/>
            <a:r>
              <a:rPr lang="en-US" dirty="0" smtClean="0"/>
              <a:t>This slide is for </a:t>
            </a:r>
            <a:br>
              <a:rPr lang="en-US" dirty="0" smtClean="0"/>
            </a:br>
            <a:r>
              <a:rPr lang="en-US" dirty="0" smtClean="0"/>
              <a:t>divider, statement </a:t>
            </a:r>
            <a:br>
              <a:rPr lang="en-US" dirty="0" smtClean="0"/>
            </a:br>
            <a:r>
              <a:rPr lang="en-US" dirty="0" smtClean="0"/>
              <a:t>or takeaway.</a:t>
            </a:r>
            <a:endParaRPr lang="en-US" dirty="0"/>
          </a:p>
        </p:txBody>
      </p:sp>
    </p:spTree>
    <p:extLst>
      <p:ext uri="{BB962C8B-B14F-4D97-AF65-F5344CB8AC3E}">
        <p14:creationId xmlns:p14="http://schemas.microsoft.com/office/powerpoint/2010/main" val="3032799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2"/>
            </p:custDataLst>
            <p:extLst>
              <p:ext uri="{D42A27DB-BD31-4B8C-83A1-F6EECF244321}">
                <p14:modId xmlns:p14="http://schemas.microsoft.com/office/powerpoint/2010/main" val="28874665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2140"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1"/>
          <p:cNvSpPr>
            <a:spLocks noGrp="1"/>
          </p:cNvSpPr>
          <p:nvPr>
            <p:ph type="title" hasCustomPrompt="1"/>
          </p:nvPr>
        </p:nvSpPr>
        <p:spPr>
          <a:xfrm>
            <a:off x="482600" y="265694"/>
            <a:ext cx="8356600" cy="5855705"/>
          </a:xfrm>
        </p:spPr>
        <p:txBody>
          <a:bodyPr/>
          <a:lstStyle>
            <a:lvl1pPr>
              <a:lnSpc>
                <a:spcPct val="90000"/>
              </a:lnSpc>
              <a:defRPr sz="5400">
                <a:solidFill>
                  <a:schemeClr val="bg1"/>
                </a:solidFill>
              </a:defRPr>
            </a:lvl1pPr>
          </a:lstStyle>
          <a:p>
            <a:pPr lvl="0"/>
            <a:r>
              <a:rPr lang="en-US" dirty="0" smtClean="0"/>
              <a:t>This slide is for </a:t>
            </a:r>
            <a:br>
              <a:rPr lang="en-US" dirty="0" smtClean="0"/>
            </a:br>
            <a:r>
              <a:rPr lang="en-US" dirty="0" smtClean="0"/>
              <a:t>divider, statement </a:t>
            </a:r>
            <a:br>
              <a:rPr lang="en-US" dirty="0" smtClean="0"/>
            </a:br>
            <a:r>
              <a:rPr lang="en-US" dirty="0" smtClean="0"/>
              <a:t>or takeaway.</a:t>
            </a:r>
            <a:endParaRPr lang="en-US" dirty="0"/>
          </a:p>
        </p:txBody>
      </p:sp>
    </p:spTree>
    <p:extLst>
      <p:ext uri="{BB962C8B-B14F-4D97-AF65-F5344CB8AC3E}">
        <p14:creationId xmlns:p14="http://schemas.microsoft.com/office/powerpoint/2010/main" val="39306975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 content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40776776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516"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6" y="1616075"/>
            <a:ext cx="3578224" cy="450215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9" name="Content Placeholder 3">
            <a:extLst>
              <a:ext uri="{FF2B5EF4-FFF2-40B4-BE49-F238E27FC236}">
                <a16:creationId xmlns:a16="http://schemas.microsoft.com/office/drawing/2014/main" id="{945836DB-331C-BB4D-A888-9D9ECE5B27F2}"/>
              </a:ext>
            </a:extLst>
          </p:cNvPr>
          <p:cNvSpPr>
            <a:spLocks noGrp="1"/>
          </p:cNvSpPr>
          <p:nvPr>
            <p:ph sz="quarter" idx="12"/>
          </p:nvPr>
        </p:nvSpPr>
        <p:spPr>
          <a:xfrm>
            <a:off x="4305300" y="361950"/>
            <a:ext cx="7404100" cy="575627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a:extLst>
              <a:ext uri="{FF2B5EF4-FFF2-40B4-BE49-F238E27FC236}">
                <a16:creationId xmlns:a16="http://schemas.microsoft.com/office/drawing/2014/main" id="{98020D88-DDBE-B945-895B-9676A84EF58F}"/>
              </a:ext>
            </a:extLst>
          </p:cNvPr>
          <p:cNvSpPr>
            <a:spLocks noGrp="1"/>
          </p:cNvSpPr>
          <p:nvPr>
            <p:ph type="title" hasCustomPrompt="1"/>
          </p:nvPr>
        </p:nvSpPr>
        <p:spPr>
          <a:xfrm>
            <a:off x="458721" y="356540"/>
            <a:ext cx="3605279" cy="839213"/>
          </a:xfrm>
        </p:spPr>
        <p:txBody>
          <a:bodyPr/>
          <a:lstStyle/>
          <a:p>
            <a:r>
              <a:rPr lang="en-US" dirty="0"/>
              <a:t>Click to add title</a:t>
            </a:r>
          </a:p>
        </p:txBody>
      </p:sp>
    </p:spTree>
    <p:extLst>
      <p:ext uri="{BB962C8B-B14F-4D97-AF65-F5344CB8AC3E}">
        <p14:creationId xmlns:p14="http://schemas.microsoft.com/office/powerpoint/2010/main" val="908404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ivider: gradient teal">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7717"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4" name="Title 1"/>
          <p:cNvSpPr>
            <a:spLocks noGrp="1"/>
          </p:cNvSpPr>
          <p:nvPr>
            <p:ph type="title" hasCustomPrompt="1"/>
          </p:nvPr>
        </p:nvSpPr>
        <p:spPr>
          <a:xfrm>
            <a:off x="482600" y="265694"/>
            <a:ext cx="8356600" cy="5855705"/>
          </a:xfrm>
        </p:spPr>
        <p:txBody>
          <a:bodyPr/>
          <a:lstStyle>
            <a:lvl1pPr>
              <a:lnSpc>
                <a:spcPct val="90000"/>
              </a:lnSpc>
              <a:defRPr sz="5400">
                <a:solidFill>
                  <a:schemeClr val="bg1"/>
                </a:solidFill>
              </a:defRPr>
            </a:lvl1pPr>
          </a:lstStyle>
          <a:p>
            <a:pPr lvl="0"/>
            <a:r>
              <a:rPr lang="en-US" dirty="0" smtClean="0"/>
              <a:t>This slide is for </a:t>
            </a:r>
            <a:br>
              <a:rPr lang="en-US" dirty="0" smtClean="0"/>
            </a:br>
            <a:r>
              <a:rPr lang="en-US" dirty="0" smtClean="0"/>
              <a:t>divider, statement </a:t>
            </a:r>
            <a:br>
              <a:rPr lang="en-US" dirty="0" smtClean="0"/>
            </a:br>
            <a:r>
              <a:rPr lang="en-US" dirty="0" smtClean="0"/>
              <a:t>or takeaway.</a:t>
            </a:r>
            <a:endParaRPr lang="en-US" dirty="0"/>
          </a:p>
        </p:txBody>
      </p:sp>
    </p:spTree>
    <p:extLst>
      <p:ext uri="{BB962C8B-B14F-4D97-AF65-F5344CB8AC3E}">
        <p14:creationId xmlns:p14="http://schemas.microsoft.com/office/powerpoint/2010/main" val="6634071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BIOS + PRESENT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extLst>
              <p:ext uri="{D42A27DB-BD31-4B8C-83A1-F6EECF244321}">
                <p14:modId xmlns:p14="http://schemas.microsoft.com/office/powerpoint/2010/main" val="32561160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4973"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54EA0D7-47B3-5149-B51A-CABC5742FBE7}"/>
              </a:ext>
            </a:extLst>
          </p:cNvPr>
          <p:cNvSpPr txBox="1"/>
          <p:nvPr/>
        </p:nvSpPr>
        <p:spPr>
          <a:xfrm>
            <a:off x="374977" y="1582341"/>
            <a:ext cx="7870744" cy="3693319"/>
          </a:xfrm>
          <a:prstGeom prst="rect">
            <a:avLst/>
          </a:prstGeom>
          <a:noFill/>
        </p:spPr>
        <p:txBody>
          <a:bodyPr wrap="none" lIns="0" tIns="0" rIns="0" bIns="0" rtlCol="0" anchor="ctr">
            <a:spAutoFit/>
          </a:bodyPr>
          <a:lstStyle/>
          <a:p>
            <a:pPr algn="l"/>
            <a:r>
              <a:rPr lang="en-US" sz="12000" b="1" i="0" dirty="0" smtClean="0">
                <a:solidFill>
                  <a:schemeClr val="bg1"/>
                </a:solidFill>
                <a:latin typeface="Arial" panose="020B0604020202020204" pitchFamily="34" charset="0"/>
                <a:cs typeface="Arial" panose="020B0604020202020204" pitchFamily="34" charset="0"/>
              </a:rPr>
              <a:t>Bios</a:t>
            </a:r>
            <a:r>
              <a:rPr lang="en-US" sz="12000" b="1" i="0" baseline="0" dirty="0" smtClean="0">
                <a:solidFill>
                  <a:schemeClr val="bg1"/>
                </a:solidFill>
                <a:latin typeface="Arial" panose="020B0604020202020204" pitchFamily="34" charset="0"/>
                <a:cs typeface="Arial" panose="020B0604020202020204" pitchFamily="34" charset="0"/>
              </a:rPr>
              <a:t> + </a:t>
            </a:r>
          </a:p>
          <a:p>
            <a:pPr algn="l"/>
            <a:r>
              <a:rPr lang="en-US" sz="12000" b="1" i="0" baseline="0" dirty="0" smtClean="0">
                <a:solidFill>
                  <a:schemeClr val="bg1"/>
                </a:solidFill>
                <a:latin typeface="Arial" panose="020B0604020202020204" pitchFamily="34" charset="0"/>
                <a:cs typeface="Arial" panose="020B0604020202020204" pitchFamily="34" charset="0"/>
              </a:rPr>
              <a:t>presenter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240138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 Squar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2"/>
            </p:custDataLst>
            <p:extLst>
              <p:ext uri="{D42A27DB-BD31-4B8C-83A1-F6EECF244321}">
                <p14:modId xmlns:p14="http://schemas.microsoft.com/office/powerpoint/2010/main" val="33025800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878"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3578224" cy="3578224"/>
          </a:xfrm>
          <a:prstGeom prst="rect">
            <a:avLst/>
          </a:prstGeom>
          <a:solidFill>
            <a:srgbClr val="F0F0F0"/>
          </a:solidFill>
        </p:spPr>
        <p:txBody>
          <a:bodyPr/>
          <a:lstStyle>
            <a:lvl1pPr algn="l">
              <a:defRPr sz="1200" baseline="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1" name="Subtitle 2">
            <a:extLst>
              <a:ext uri="{FF2B5EF4-FFF2-40B4-BE49-F238E27FC236}">
                <a16:creationId xmlns:a16="http://schemas.microsoft.com/office/drawing/2014/main" id="{8FB48F80-0958-024B-9A43-F726B5006EF6}"/>
              </a:ext>
            </a:extLst>
          </p:cNvPr>
          <p:cNvSpPr>
            <a:spLocks noGrp="1"/>
          </p:cNvSpPr>
          <p:nvPr>
            <p:ph type="subTitle" idx="1" hasCustomPrompt="1"/>
          </p:nvPr>
        </p:nvSpPr>
        <p:spPr>
          <a:xfrm>
            <a:off x="4312994" y="1557463"/>
            <a:ext cx="7396407" cy="318476"/>
          </a:xfrm>
        </p:spPr>
        <p:txBody>
          <a:bodyPr anchor="t"/>
          <a:lstStyle>
            <a:lvl1pPr marL="0" indent="0" algn="l">
              <a:spcBef>
                <a:spcPts val="0"/>
              </a:spcBef>
              <a:spcAft>
                <a:spcPts val="0"/>
              </a:spcAft>
              <a:buNone/>
              <a:defRPr sz="18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4312994" y="2308118"/>
            <a:ext cx="7396406" cy="3813282"/>
          </a:xfrm>
        </p:spPr>
        <p:txBody>
          <a:bodyPr/>
          <a:lstStyle>
            <a:lvl1pPr>
              <a:defRPr sz="1500"/>
            </a:lvl1pPr>
            <a:lvl2pPr>
              <a:spcBef>
                <a:spcPts val="600"/>
              </a:spcBef>
              <a:defRPr sz="1500"/>
            </a:lvl2pPr>
            <a:lvl3pPr>
              <a:defRPr sz="1500"/>
            </a:lvl3pPr>
            <a:lvl4pPr>
              <a:defRPr sz="1500"/>
            </a:lvl4pPr>
            <a:lvl5pPr>
              <a:defRPr sz="1500"/>
            </a:lvl5pPr>
            <a:lvl6pPr>
              <a:defRPr/>
            </a:lvl6pPr>
            <a:lvl7pPr>
              <a:defRPr/>
            </a:lvl7pPr>
            <a:lvl8pPr>
              <a:defRPr/>
            </a:lvl8pPr>
          </a:lstStyle>
          <a:p>
            <a:pPr lvl="0"/>
            <a:r>
              <a:rPr lang="en-US" smtClean="0"/>
              <a:t>Edit Master text styles</a:t>
            </a:r>
          </a:p>
          <a:p>
            <a:pPr lvl="1"/>
            <a:r>
              <a:rPr lang="en-US" smtClean="0"/>
              <a:t>Second level</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4312995" y="1875118"/>
            <a:ext cx="7396406"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9" name="Title 1">
            <a:extLst>
              <a:ext uri="{FF2B5EF4-FFF2-40B4-BE49-F238E27FC236}">
                <a16:creationId xmlns:a16="http://schemas.microsoft.com/office/drawing/2014/main" id="{07528AAB-5505-3B4E-8BF6-F6444612DEDF}"/>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D0AFCE9C-2323-C542-8AB3-51D29AAD0400}"/>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7421432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2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2"/>
            </p:custDataLst>
            <p:extLst>
              <p:ext uri="{D42A27DB-BD31-4B8C-83A1-F6EECF244321}">
                <p14:modId xmlns:p14="http://schemas.microsoft.com/office/powerpoint/2010/main" val="41775710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1902"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F1E2AC-3027-3048-8FE1-F9832E4FA9E1}"/>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6" name="Text Placeholder 3">
            <a:extLst>
              <a:ext uri="{FF2B5EF4-FFF2-40B4-BE49-F238E27FC236}">
                <a16:creationId xmlns:a16="http://schemas.microsoft.com/office/drawing/2014/main" id="{478E7F30-C13D-CC4E-B648-9CE1EDF3C6B8}"/>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224" cy="1704974"/>
          </a:xfrm>
          <a:prstGeom prst="rect">
            <a:avLst/>
          </a:prstGeom>
          <a:solidFill>
            <a:srgbClr val="F0F0F0"/>
          </a:solidFill>
        </p:spPr>
        <p:txBody>
          <a:bodyPr/>
          <a:lstStyle>
            <a:lvl1pPr algn="l">
              <a:defRPr sz="1200" baseline="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3"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6217381" y="1620838"/>
            <a:ext cx="1669319" cy="170497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6226174" y="3548674"/>
            <a:ext cx="5495924"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485777" y="3548674"/>
            <a:ext cx="5495924"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6226176" y="4319152"/>
            <a:ext cx="5495922" cy="1802248"/>
          </a:xfrm>
        </p:spPr>
        <p:txBody>
          <a:bodyPr/>
          <a:lstStyle>
            <a:lvl1pPr>
              <a:defRPr sz="1500"/>
            </a:lvl1pPr>
            <a:lvl2pPr>
              <a:spcBef>
                <a:spcPts val="600"/>
              </a:spcBef>
              <a:defRPr sz="1500"/>
            </a:lvl2pPr>
            <a:lvl3pPr>
              <a:defRPr sz="1500"/>
            </a:lvl3pPr>
            <a:lvl4pPr>
              <a:defRPr sz="1500"/>
            </a:lvl4pPr>
            <a:lvl5pPr>
              <a:defRPr sz="1500"/>
            </a:lvl5pPr>
            <a:lvl6pPr>
              <a:defRPr/>
            </a:lvl6pPr>
          </a:lstStyle>
          <a:p>
            <a:pPr lvl="0"/>
            <a:r>
              <a:rPr lang="en-US" smtClean="0"/>
              <a:t>Edit Master text styles</a:t>
            </a:r>
          </a:p>
          <a:p>
            <a:pPr lvl="1"/>
            <a:r>
              <a:rPr lang="en-US" smtClean="0"/>
              <a:t>Second level</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6226174" y="3866329"/>
            <a:ext cx="5495924"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17" name="Text Placeholder 13">
            <a:extLst>
              <a:ext uri="{FF2B5EF4-FFF2-40B4-BE49-F238E27FC236}">
                <a16:creationId xmlns:a16="http://schemas.microsoft.com/office/drawing/2014/main" id="{FA11E823-0F61-B144-9A65-89A2F749C474}"/>
              </a:ext>
            </a:extLst>
          </p:cNvPr>
          <p:cNvSpPr>
            <a:spLocks noGrp="1"/>
          </p:cNvSpPr>
          <p:nvPr>
            <p:ph type="body" sz="quarter" idx="14"/>
          </p:nvPr>
        </p:nvSpPr>
        <p:spPr>
          <a:xfrm>
            <a:off x="485779" y="4319152"/>
            <a:ext cx="5495922" cy="1802248"/>
          </a:xfrm>
        </p:spPr>
        <p:txBody>
          <a:bodyPr/>
          <a:lstStyle>
            <a:lvl1pPr>
              <a:defRPr sz="1500"/>
            </a:lvl1pPr>
            <a:lvl2pPr>
              <a:spcBef>
                <a:spcPts val="600"/>
              </a:spcBef>
              <a:defRPr sz="1500"/>
            </a:lvl2pPr>
            <a:lvl3pPr>
              <a:defRPr sz="1500"/>
            </a:lvl3pPr>
            <a:lvl4pPr>
              <a:defRPr sz="1500"/>
            </a:lvl4pPr>
            <a:lvl5pPr>
              <a:defRPr sz="1500"/>
            </a:lvl5pPr>
          </a:lstStyle>
          <a:p>
            <a:pPr lvl="0"/>
            <a:r>
              <a:rPr lang="en-US" smtClean="0"/>
              <a:t>Edit Master text styles</a:t>
            </a:r>
          </a:p>
          <a:p>
            <a:pPr lvl="1"/>
            <a:r>
              <a:rPr lang="en-US" smtClean="0"/>
              <a:t>Second level</a:t>
            </a:r>
          </a:p>
        </p:txBody>
      </p:sp>
      <p:sp>
        <p:nvSpPr>
          <p:cNvPr id="1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485777" y="3866329"/>
            <a:ext cx="5495924"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Tree>
    <p:extLst>
      <p:ext uri="{BB962C8B-B14F-4D97-AF65-F5344CB8AC3E}">
        <p14:creationId xmlns:p14="http://schemas.microsoft.com/office/powerpoint/2010/main" val="21011362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2"/>
            </p:custDataLst>
            <p:extLst>
              <p:ext uri="{D42A27DB-BD31-4B8C-83A1-F6EECF244321}">
                <p14:modId xmlns:p14="http://schemas.microsoft.com/office/powerpoint/2010/main" val="37947608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2926"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224" cy="170497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3"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4308478" y="1620838"/>
            <a:ext cx="1673222" cy="1704974"/>
          </a:xfrm>
          <a:prstGeom prst="rect">
            <a:avLst/>
          </a:prstGeom>
          <a:solidFill>
            <a:srgbClr val="F0F0F0"/>
          </a:solidFill>
        </p:spPr>
        <p:txBody>
          <a:bodyPr/>
          <a:lstStyle>
            <a:lvl1pPr marL="0" marR="0" indent="0" algn="l" defTabSz="457200" rtl="0" eaLnBrk="1" fontAlgn="auto" latinLnBrk="0" hangingPunct="1">
              <a:lnSpc>
                <a:spcPct val="100000"/>
              </a:lnSpc>
              <a:spcBef>
                <a:spcPts val="1200"/>
              </a:spcBef>
              <a:spcAft>
                <a:spcPts val="600"/>
              </a:spcAft>
              <a:buClrTx/>
              <a:buSzTx/>
              <a:buFont typeface="Arial"/>
              <a:buNone/>
              <a:tabLst/>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4305301" y="3548674"/>
            <a:ext cx="3581400"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485777" y="3548674"/>
            <a:ext cx="3578223"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4305303" y="4319152"/>
            <a:ext cx="3581399" cy="1802248"/>
          </a:xfrm>
        </p:spPr>
        <p:txBody>
          <a:bodyPr/>
          <a:lstStyle>
            <a:lvl1pPr>
              <a:defRPr sz="1500"/>
            </a:lvl1pPr>
            <a:lvl2pPr>
              <a:spcBef>
                <a:spcPts val="600"/>
              </a:spcBef>
              <a:defRPr sz="1500"/>
            </a:lvl2pPr>
            <a:lvl3pPr>
              <a:defRPr sz="1500"/>
            </a:lvl3pPr>
            <a:lvl4pPr>
              <a:defRPr sz="1500"/>
            </a:lvl4pPr>
            <a:lvl5pPr>
              <a:defRPr sz="1500"/>
            </a:lvl5pPr>
            <a:lvl6pPr marL="919162" indent="0">
              <a:buNone/>
              <a:defRPr/>
            </a:lvl6pPr>
          </a:lstStyle>
          <a:p>
            <a:pPr lvl="0"/>
            <a:r>
              <a:rPr lang="en-US" smtClean="0"/>
              <a:t>Edit Master text styles</a:t>
            </a:r>
          </a:p>
          <a:p>
            <a:pPr lvl="1"/>
            <a:r>
              <a:rPr lang="en-US" smtClean="0"/>
              <a:t>Second level</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4305301" y="3866329"/>
            <a:ext cx="3581400" cy="318476"/>
          </a:xfrm>
        </p:spPr>
        <p:txBody>
          <a:bodyPr/>
          <a:lstStyle>
            <a:lvl1pPr marL="0" indent="0">
              <a:spcBef>
                <a:spcPts val="0"/>
              </a:spcBef>
              <a:spcAft>
                <a:spcPts val="0"/>
              </a:spcAft>
              <a:buNone/>
              <a:defRPr sz="20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17" name="Text Placeholder 13">
            <a:extLst>
              <a:ext uri="{FF2B5EF4-FFF2-40B4-BE49-F238E27FC236}">
                <a16:creationId xmlns:a16="http://schemas.microsoft.com/office/drawing/2014/main" id="{FA11E823-0F61-B144-9A65-89A2F749C474}"/>
              </a:ext>
            </a:extLst>
          </p:cNvPr>
          <p:cNvSpPr>
            <a:spLocks noGrp="1"/>
          </p:cNvSpPr>
          <p:nvPr>
            <p:ph type="body" sz="quarter" idx="14"/>
          </p:nvPr>
        </p:nvSpPr>
        <p:spPr>
          <a:xfrm>
            <a:off x="485779" y="4319152"/>
            <a:ext cx="3578222" cy="1802248"/>
          </a:xfrm>
        </p:spPr>
        <p:txBody>
          <a:bodyPr/>
          <a:lstStyle>
            <a:lvl1pPr>
              <a:defRPr sz="1500"/>
            </a:lvl1pPr>
            <a:lvl2pPr>
              <a:spcBef>
                <a:spcPts val="600"/>
              </a:spcBef>
              <a:defRPr sz="1500"/>
            </a:lvl2pPr>
            <a:lvl3pPr>
              <a:defRPr sz="1500"/>
            </a:lvl3pPr>
            <a:lvl4pPr>
              <a:defRPr sz="1500"/>
            </a:lvl4pPr>
            <a:lvl5pPr>
              <a:defRPr sz="1500"/>
            </a:lvl5pPr>
            <a:lvl6pPr>
              <a:defRPr/>
            </a:lvl6pPr>
          </a:lstStyle>
          <a:p>
            <a:pPr lvl="0"/>
            <a:r>
              <a:rPr lang="en-US" smtClean="0"/>
              <a:t>Edit Master text styles</a:t>
            </a:r>
          </a:p>
          <a:p>
            <a:pPr lvl="1"/>
            <a:r>
              <a:rPr lang="en-US" smtClean="0"/>
              <a:t>Second level</a:t>
            </a:r>
          </a:p>
        </p:txBody>
      </p:sp>
      <p:sp>
        <p:nvSpPr>
          <p:cNvPr id="1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485777" y="3866329"/>
            <a:ext cx="3578223"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1" name="Text Placeholder 3">
            <a:extLst>
              <a:ext uri="{FF2B5EF4-FFF2-40B4-BE49-F238E27FC236}">
                <a16:creationId xmlns:a16="http://schemas.microsoft.com/office/drawing/2014/main" id="{AC0CDF27-1ADD-8342-879D-707AFEFCFEF8}"/>
              </a:ext>
            </a:extLst>
          </p:cNvPr>
          <p:cNvSpPr>
            <a:spLocks noGrp="1"/>
          </p:cNvSpPr>
          <p:nvPr>
            <p:ph type="body" sz="half" idx="18" hasCustomPrompt="1"/>
          </p:nvPr>
        </p:nvSpPr>
        <p:spPr>
          <a:xfrm>
            <a:off x="8130667" y="3548674"/>
            <a:ext cx="3578733"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2" name="Text Placeholder 13">
            <a:extLst>
              <a:ext uri="{FF2B5EF4-FFF2-40B4-BE49-F238E27FC236}">
                <a16:creationId xmlns:a16="http://schemas.microsoft.com/office/drawing/2014/main" id="{E53B07F7-1C0A-6047-A541-C601FCBCE8EF}"/>
              </a:ext>
            </a:extLst>
          </p:cNvPr>
          <p:cNvSpPr>
            <a:spLocks noGrp="1"/>
          </p:cNvSpPr>
          <p:nvPr>
            <p:ph type="body" sz="quarter" idx="19"/>
          </p:nvPr>
        </p:nvSpPr>
        <p:spPr>
          <a:xfrm>
            <a:off x="8130670" y="4319152"/>
            <a:ext cx="3578732" cy="1802248"/>
          </a:xfrm>
        </p:spPr>
        <p:txBody>
          <a:bodyPr/>
          <a:lstStyle>
            <a:lvl1pPr>
              <a:defRPr sz="1500"/>
            </a:lvl1pPr>
            <a:lvl2pPr>
              <a:spcBef>
                <a:spcPts val="600"/>
              </a:spcBef>
              <a:defRPr sz="1500"/>
            </a:lvl2pPr>
            <a:lvl3pPr>
              <a:defRPr sz="1500"/>
            </a:lvl3pPr>
            <a:lvl4pPr>
              <a:defRPr sz="1500"/>
            </a:lvl4pPr>
            <a:lvl5pPr>
              <a:defRPr sz="1500"/>
            </a:lvl5pPr>
            <a:lvl6pPr marL="919162" indent="0">
              <a:buNone/>
              <a:defRPr/>
            </a:lvl6pPr>
          </a:lstStyle>
          <a:p>
            <a:pPr lvl="0"/>
            <a:r>
              <a:rPr lang="en-US" smtClean="0"/>
              <a:t>Edit Master text styles</a:t>
            </a:r>
          </a:p>
          <a:p>
            <a:pPr lvl="1"/>
            <a:r>
              <a:rPr lang="en-US" smtClean="0"/>
              <a:t>Second level</a:t>
            </a:r>
          </a:p>
        </p:txBody>
      </p:sp>
      <p:sp>
        <p:nvSpPr>
          <p:cNvPr id="23" name="Text Placeholder 3">
            <a:extLst>
              <a:ext uri="{FF2B5EF4-FFF2-40B4-BE49-F238E27FC236}">
                <a16:creationId xmlns:a16="http://schemas.microsoft.com/office/drawing/2014/main" id="{94746E12-3EC2-5141-8C5F-4B4265F409C4}"/>
              </a:ext>
            </a:extLst>
          </p:cNvPr>
          <p:cNvSpPr>
            <a:spLocks noGrp="1"/>
          </p:cNvSpPr>
          <p:nvPr>
            <p:ph type="body" sz="half" idx="20" hasCustomPrompt="1"/>
          </p:nvPr>
        </p:nvSpPr>
        <p:spPr>
          <a:xfrm>
            <a:off x="8130667" y="3866329"/>
            <a:ext cx="3578733"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4" name="Picture Placeholder 9">
            <a:extLst>
              <a:ext uri="{FF2B5EF4-FFF2-40B4-BE49-F238E27FC236}">
                <a16:creationId xmlns:a16="http://schemas.microsoft.com/office/drawing/2014/main" id="{FF57ADCE-A8E0-014E-9057-FA914AC44AB6}"/>
              </a:ext>
            </a:extLst>
          </p:cNvPr>
          <p:cNvSpPr>
            <a:spLocks noGrp="1" noChangeAspect="1"/>
          </p:cNvSpPr>
          <p:nvPr>
            <p:ph type="pic" sz="quarter" idx="21" hasCustomPrompt="1"/>
          </p:nvPr>
        </p:nvSpPr>
        <p:spPr>
          <a:xfrm>
            <a:off x="8128001" y="1620838"/>
            <a:ext cx="1676399" cy="170497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25" name="Title 1">
            <a:extLst>
              <a:ext uri="{FF2B5EF4-FFF2-40B4-BE49-F238E27FC236}">
                <a16:creationId xmlns:a16="http://schemas.microsoft.com/office/drawing/2014/main" id="{1A557E69-B948-EE4F-8D3C-094A819B91FC}"/>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26" name="Text Placeholder 3">
            <a:extLst>
              <a:ext uri="{FF2B5EF4-FFF2-40B4-BE49-F238E27FC236}">
                <a16:creationId xmlns:a16="http://schemas.microsoft.com/office/drawing/2014/main" id="{E15F6C54-7BEE-0A47-9C13-2AD0DEE8A17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5002840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4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2"/>
            </p:custDataLst>
            <p:extLst>
              <p:ext uri="{D42A27DB-BD31-4B8C-83A1-F6EECF244321}">
                <p14:modId xmlns:p14="http://schemas.microsoft.com/office/powerpoint/2010/main" val="10601335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3950"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224" cy="170497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3"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6226173" y="1620838"/>
            <a:ext cx="1660527" cy="170497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8127999" y="3800320"/>
            <a:ext cx="35814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2387599" y="3800320"/>
            <a:ext cx="35941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hasCustomPrompt="1"/>
          </p:nvPr>
        </p:nvSpPr>
        <p:spPr>
          <a:xfrm>
            <a:off x="8128001" y="4502460"/>
            <a:ext cx="35814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8127999" y="4117975"/>
            <a:ext cx="35814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17" name="Text Placeholder 13">
            <a:extLst>
              <a:ext uri="{FF2B5EF4-FFF2-40B4-BE49-F238E27FC236}">
                <a16:creationId xmlns:a16="http://schemas.microsoft.com/office/drawing/2014/main" id="{FA11E823-0F61-B144-9A65-89A2F749C474}"/>
              </a:ext>
            </a:extLst>
          </p:cNvPr>
          <p:cNvSpPr>
            <a:spLocks noGrp="1"/>
          </p:cNvSpPr>
          <p:nvPr>
            <p:ph type="body" sz="quarter" idx="14" hasCustomPrompt="1"/>
          </p:nvPr>
        </p:nvSpPr>
        <p:spPr>
          <a:xfrm>
            <a:off x="2387601" y="4502460"/>
            <a:ext cx="35941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1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2387599" y="4117975"/>
            <a:ext cx="35941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1" name="Text Placeholder 3">
            <a:extLst>
              <a:ext uri="{FF2B5EF4-FFF2-40B4-BE49-F238E27FC236}">
                <a16:creationId xmlns:a16="http://schemas.microsoft.com/office/drawing/2014/main" id="{5F7713A0-A151-AC43-ADBC-57561531851D}"/>
              </a:ext>
            </a:extLst>
          </p:cNvPr>
          <p:cNvSpPr>
            <a:spLocks noGrp="1"/>
          </p:cNvSpPr>
          <p:nvPr>
            <p:ph type="body" sz="half" idx="18" hasCustomPrompt="1"/>
          </p:nvPr>
        </p:nvSpPr>
        <p:spPr>
          <a:xfrm>
            <a:off x="8127999" y="1564115"/>
            <a:ext cx="35814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2" name="Text Placeholder 3">
            <a:extLst>
              <a:ext uri="{FF2B5EF4-FFF2-40B4-BE49-F238E27FC236}">
                <a16:creationId xmlns:a16="http://schemas.microsoft.com/office/drawing/2014/main" id="{36990999-1C86-3C4A-9E86-512FFE509F06}"/>
              </a:ext>
            </a:extLst>
          </p:cNvPr>
          <p:cNvSpPr>
            <a:spLocks noGrp="1"/>
          </p:cNvSpPr>
          <p:nvPr>
            <p:ph type="body" sz="half" idx="19" hasCustomPrompt="1"/>
          </p:nvPr>
        </p:nvSpPr>
        <p:spPr>
          <a:xfrm>
            <a:off x="2387599" y="1564115"/>
            <a:ext cx="35941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3" name="Text Placeholder 13">
            <a:extLst>
              <a:ext uri="{FF2B5EF4-FFF2-40B4-BE49-F238E27FC236}">
                <a16:creationId xmlns:a16="http://schemas.microsoft.com/office/drawing/2014/main" id="{A71029AB-D37D-2644-A741-0C081A0EFD23}"/>
              </a:ext>
            </a:extLst>
          </p:cNvPr>
          <p:cNvSpPr>
            <a:spLocks noGrp="1"/>
          </p:cNvSpPr>
          <p:nvPr>
            <p:ph type="body" sz="quarter" idx="20" hasCustomPrompt="1"/>
          </p:nvPr>
        </p:nvSpPr>
        <p:spPr>
          <a:xfrm>
            <a:off x="8128001" y="2266255"/>
            <a:ext cx="35814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24" name="Text Placeholder 3">
            <a:extLst>
              <a:ext uri="{FF2B5EF4-FFF2-40B4-BE49-F238E27FC236}">
                <a16:creationId xmlns:a16="http://schemas.microsoft.com/office/drawing/2014/main" id="{C8BA4402-6CAF-594E-89D2-451CACAEAF49}"/>
              </a:ext>
            </a:extLst>
          </p:cNvPr>
          <p:cNvSpPr>
            <a:spLocks noGrp="1"/>
          </p:cNvSpPr>
          <p:nvPr>
            <p:ph type="body" sz="half" idx="21" hasCustomPrompt="1"/>
          </p:nvPr>
        </p:nvSpPr>
        <p:spPr>
          <a:xfrm>
            <a:off x="8127999" y="1881770"/>
            <a:ext cx="35814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5" name="Text Placeholder 13">
            <a:extLst>
              <a:ext uri="{FF2B5EF4-FFF2-40B4-BE49-F238E27FC236}">
                <a16:creationId xmlns:a16="http://schemas.microsoft.com/office/drawing/2014/main" id="{265C0D49-3234-5E4D-894F-6B46C7FB1261}"/>
              </a:ext>
            </a:extLst>
          </p:cNvPr>
          <p:cNvSpPr>
            <a:spLocks noGrp="1"/>
          </p:cNvSpPr>
          <p:nvPr>
            <p:ph type="body" sz="quarter" idx="22" hasCustomPrompt="1"/>
          </p:nvPr>
        </p:nvSpPr>
        <p:spPr>
          <a:xfrm>
            <a:off x="2387601" y="2266255"/>
            <a:ext cx="35941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26" name="Text Placeholder 3">
            <a:extLst>
              <a:ext uri="{FF2B5EF4-FFF2-40B4-BE49-F238E27FC236}">
                <a16:creationId xmlns:a16="http://schemas.microsoft.com/office/drawing/2014/main" id="{0257D817-539C-DD4E-AE71-8174AB5D41C0}"/>
              </a:ext>
            </a:extLst>
          </p:cNvPr>
          <p:cNvSpPr>
            <a:spLocks noGrp="1"/>
          </p:cNvSpPr>
          <p:nvPr>
            <p:ph type="body" sz="half" idx="23" hasCustomPrompt="1"/>
          </p:nvPr>
        </p:nvSpPr>
        <p:spPr>
          <a:xfrm>
            <a:off x="2387599" y="1881770"/>
            <a:ext cx="35941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7" name="Picture Placeholder 9">
            <a:extLst>
              <a:ext uri="{FF2B5EF4-FFF2-40B4-BE49-F238E27FC236}">
                <a16:creationId xmlns:a16="http://schemas.microsoft.com/office/drawing/2014/main" id="{6BD28324-F3EB-BE41-9D0C-98C0D13B4016}"/>
              </a:ext>
            </a:extLst>
          </p:cNvPr>
          <p:cNvSpPr>
            <a:spLocks noGrp="1" noChangeAspect="1"/>
          </p:cNvSpPr>
          <p:nvPr>
            <p:ph type="pic" sz="quarter" idx="24" hasCustomPrompt="1"/>
          </p:nvPr>
        </p:nvSpPr>
        <p:spPr>
          <a:xfrm>
            <a:off x="485776" y="3879092"/>
            <a:ext cx="1673224" cy="170497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28" name="Picture Placeholder 9">
            <a:extLst>
              <a:ext uri="{FF2B5EF4-FFF2-40B4-BE49-F238E27FC236}">
                <a16:creationId xmlns:a16="http://schemas.microsoft.com/office/drawing/2014/main" id="{F9D2F30B-E1C7-574E-BAC9-2FA330852737}"/>
              </a:ext>
            </a:extLst>
          </p:cNvPr>
          <p:cNvSpPr>
            <a:spLocks noGrp="1" noChangeAspect="1"/>
          </p:cNvSpPr>
          <p:nvPr>
            <p:ph type="pic" sz="quarter" idx="25" hasCustomPrompt="1"/>
          </p:nvPr>
        </p:nvSpPr>
        <p:spPr>
          <a:xfrm>
            <a:off x="6226173" y="3879092"/>
            <a:ext cx="1660527" cy="170497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29" name="Title 1">
            <a:extLst>
              <a:ext uri="{FF2B5EF4-FFF2-40B4-BE49-F238E27FC236}">
                <a16:creationId xmlns:a16="http://schemas.microsoft.com/office/drawing/2014/main" id="{7AA2A475-59E8-7C47-A042-7D18D3F485F0}"/>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30" name="Text Placeholder 3">
            <a:extLst>
              <a:ext uri="{FF2B5EF4-FFF2-40B4-BE49-F238E27FC236}">
                <a16:creationId xmlns:a16="http://schemas.microsoft.com/office/drawing/2014/main" id="{89251D6D-CA0A-B446-980B-987AD095401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21853025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8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6250"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271904" cy="127190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a:t>
            </a:r>
            <a:endParaRPr lang="en-US" dirty="0"/>
          </a:p>
        </p:txBody>
      </p:sp>
      <p:sp>
        <p:nvSpPr>
          <p:cNvPr id="22" name="Text Placeholder 3">
            <a:extLst>
              <a:ext uri="{FF2B5EF4-FFF2-40B4-BE49-F238E27FC236}">
                <a16:creationId xmlns:a16="http://schemas.microsoft.com/office/drawing/2014/main" id="{36990999-1C86-3C4A-9E86-512FFE509F06}"/>
              </a:ext>
            </a:extLst>
          </p:cNvPr>
          <p:cNvSpPr>
            <a:spLocks noGrp="1"/>
          </p:cNvSpPr>
          <p:nvPr>
            <p:ph type="body" sz="half" idx="19" hasCustomPrompt="1"/>
          </p:nvPr>
        </p:nvSpPr>
        <p:spPr>
          <a:xfrm>
            <a:off x="48577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6" name="Text Placeholder 3">
            <a:extLst>
              <a:ext uri="{FF2B5EF4-FFF2-40B4-BE49-F238E27FC236}">
                <a16:creationId xmlns:a16="http://schemas.microsoft.com/office/drawing/2014/main" id="{0257D817-539C-DD4E-AE71-8174AB5D41C0}"/>
              </a:ext>
            </a:extLst>
          </p:cNvPr>
          <p:cNvSpPr>
            <a:spLocks noGrp="1"/>
          </p:cNvSpPr>
          <p:nvPr>
            <p:ph type="body" sz="half" idx="23" hasCustomPrompt="1"/>
          </p:nvPr>
        </p:nvSpPr>
        <p:spPr>
          <a:xfrm>
            <a:off x="48577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9" name="Title 1">
            <a:extLst>
              <a:ext uri="{FF2B5EF4-FFF2-40B4-BE49-F238E27FC236}">
                <a16:creationId xmlns:a16="http://schemas.microsoft.com/office/drawing/2014/main" id="{7AA2A475-59E8-7C47-A042-7D18D3F485F0}"/>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30" name="Text Placeholder 3">
            <a:extLst>
              <a:ext uri="{FF2B5EF4-FFF2-40B4-BE49-F238E27FC236}">
                <a16:creationId xmlns:a16="http://schemas.microsoft.com/office/drawing/2014/main" id="{89251D6D-CA0A-B446-980B-987AD095401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32"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4" hasCustomPrompt="1"/>
          </p:nvPr>
        </p:nvSpPr>
        <p:spPr>
          <a:xfrm>
            <a:off x="3361056" y="1620838"/>
            <a:ext cx="1271904" cy="127190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a:t>
            </a:r>
            <a:endParaRPr lang="en-US" dirty="0"/>
          </a:p>
        </p:txBody>
      </p:sp>
      <p:sp>
        <p:nvSpPr>
          <p:cNvPr id="33"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5" hasCustomPrompt="1"/>
          </p:nvPr>
        </p:nvSpPr>
        <p:spPr>
          <a:xfrm>
            <a:off x="6210300" y="1620838"/>
            <a:ext cx="1271904" cy="127190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a:t>
            </a:r>
            <a:endParaRPr lang="en-US" dirty="0"/>
          </a:p>
        </p:txBody>
      </p:sp>
      <p:sp>
        <p:nvSpPr>
          <p:cNvPr id="34"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6" hasCustomPrompt="1"/>
          </p:nvPr>
        </p:nvSpPr>
        <p:spPr>
          <a:xfrm>
            <a:off x="9080500" y="1620838"/>
            <a:ext cx="1271904" cy="127190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a:t>
            </a:r>
            <a:endParaRPr lang="en-US" dirty="0"/>
          </a:p>
        </p:txBody>
      </p:sp>
      <p:sp>
        <p:nvSpPr>
          <p:cNvPr id="35" name="Text Placeholder 3">
            <a:extLst>
              <a:ext uri="{FF2B5EF4-FFF2-40B4-BE49-F238E27FC236}">
                <a16:creationId xmlns:a16="http://schemas.microsoft.com/office/drawing/2014/main" id="{36990999-1C86-3C4A-9E86-512FFE509F06}"/>
              </a:ext>
            </a:extLst>
          </p:cNvPr>
          <p:cNvSpPr>
            <a:spLocks noGrp="1"/>
          </p:cNvSpPr>
          <p:nvPr>
            <p:ph type="body" sz="half" idx="27" hasCustomPrompt="1"/>
          </p:nvPr>
        </p:nvSpPr>
        <p:spPr>
          <a:xfrm>
            <a:off x="336105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36" name="Text Placeholder 3">
            <a:extLst>
              <a:ext uri="{FF2B5EF4-FFF2-40B4-BE49-F238E27FC236}">
                <a16:creationId xmlns:a16="http://schemas.microsoft.com/office/drawing/2014/main" id="{0257D817-539C-DD4E-AE71-8174AB5D41C0}"/>
              </a:ext>
            </a:extLst>
          </p:cNvPr>
          <p:cNvSpPr>
            <a:spLocks noGrp="1"/>
          </p:cNvSpPr>
          <p:nvPr>
            <p:ph type="body" sz="half" idx="28" hasCustomPrompt="1"/>
          </p:nvPr>
        </p:nvSpPr>
        <p:spPr>
          <a:xfrm>
            <a:off x="336105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37" name="Text Placeholder 3">
            <a:extLst>
              <a:ext uri="{FF2B5EF4-FFF2-40B4-BE49-F238E27FC236}">
                <a16:creationId xmlns:a16="http://schemas.microsoft.com/office/drawing/2014/main" id="{36990999-1C86-3C4A-9E86-512FFE509F06}"/>
              </a:ext>
            </a:extLst>
          </p:cNvPr>
          <p:cNvSpPr>
            <a:spLocks noGrp="1"/>
          </p:cNvSpPr>
          <p:nvPr>
            <p:ph type="body" sz="half" idx="29" hasCustomPrompt="1"/>
          </p:nvPr>
        </p:nvSpPr>
        <p:spPr>
          <a:xfrm>
            <a:off x="620585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38" name="Text Placeholder 3">
            <a:extLst>
              <a:ext uri="{FF2B5EF4-FFF2-40B4-BE49-F238E27FC236}">
                <a16:creationId xmlns:a16="http://schemas.microsoft.com/office/drawing/2014/main" id="{0257D817-539C-DD4E-AE71-8174AB5D41C0}"/>
              </a:ext>
            </a:extLst>
          </p:cNvPr>
          <p:cNvSpPr>
            <a:spLocks noGrp="1"/>
          </p:cNvSpPr>
          <p:nvPr>
            <p:ph type="body" sz="half" idx="30" hasCustomPrompt="1"/>
          </p:nvPr>
        </p:nvSpPr>
        <p:spPr>
          <a:xfrm>
            <a:off x="620585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39" name="Text Placeholder 3">
            <a:extLst>
              <a:ext uri="{FF2B5EF4-FFF2-40B4-BE49-F238E27FC236}">
                <a16:creationId xmlns:a16="http://schemas.microsoft.com/office/drawing/2014/main" id="{36990999-1C86-3C4A-9E86-512FFE509F06}"/>
              </a:ext>
            </a:extLst>
          </p:cNvPr>
          <p:cNvSpPr>
            <a:spLocks noGrp="1"/>
          </p:cNvSpPr>
          <p:nvPr>
            <p:ph type="body" sz="half" idx="31" hasCustomPrompt="1"/>
          </p:nvPr>
        </p:nvSpPr>
        <p:spPr>
          <a:xfrm>
            <a:off x="908113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40" name="Text Placeholder 3">
            <a:extLst>
              <a:ext uri="{FF2B5EF4-FFF2-40B4-BE49-F238E27FC236}">
                <a16:creationId xmlns:a16="http://schemas.microsoft.com/office/drawing/2014/main" id="{0257D817-539C-DD4E-AE71-8174AB5D41C0}"/>
              </a:ext>
            </a:extLst>
          </p:cNvPr>
          <p:cNvSpPr>
            <a:spLocks noGrp="1"/>
          </p:cNvSpPr>
          <p:nvPr>
            <p:ph type="body" sz="half" idx="32" hasCustomPrompt="1"/>
          </p:nvPr>
        </p:nvSpPr>
        <p:spPr>
          <a:xfrm>
            <a:off x="908113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41"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3" hasCustomPrompt="1"/>
          </p:nvPr>
        </p:nvSpPr>
        <p:spPr>
          <a:xfrm>
            <a:off x="485776" y="3916998"/>
            <a:ext cx="1271904" cy="127190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a:t>
            </a:r>
            <a:endParaRPr lang="en-US" dirty="0"/>
          </a:p>
        </p:txBody>
      </p:sp>
      <p:sp>
        <p:nvSpPr>
          <p:cNvPr id="42" name="Text Placeholder 3">
            <a:extLst>
              <a:ext uri="{FF2B5EF4-FFF2-40B4-BE49-F238E27FC236}">
                <a16:creationId xmlns:a16="http://schemas.microsoft.com/office/drawing/2014/main" id="{36990999-1C86-3C4A-9E86-512FFE509F06}"/>
              </a:ext>
            </a:extLst>
          </p:cNvPr>
          <p:cNvSpPr>
            <a:spLocks noGrp="1"/>
          </p:cNvSpPr>
          <p:nvPr>
            <p:ph type="body" sz="half" idx="34" hasCustomPrompt="1"/>
          </p:nvPr>
        </p:nvSpPr>
        <p:spPr>
          <a:xfrm>
            <a:off x="48577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43" name="Text Placeholder 3">
            <a:extLst>
              <a:ext uri="{FF2B5EF4-FFF2-40B4-BE49-F238E27FC236}">
                <a16:creationId xmlns:a16="http://schemas.microsoft.com/office/drawing/2014/main" id="{0257D817-539C-DD4E-AE71-8174AB5D41C0}"/>
              </a:ext>
            </a:extLst>
          </p:cNvPr>
          <p:cNvSpPr>
            <a:spLocks noGrp="1"/>
          </p:cNvSpPr>
          <p:nvPr>
            <p:ph type="body" sz="half" idx="35" hasCustomPrompt="1"/>
          </p:nvPr>
        </p:nvSpPr>
        <p:spPr>
          <a:xfrm>
            <a:off x="48577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44"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6" hasCustomPrompt="1"/>
          </p:nvPr>
        </p:nvSpPr>
        <p:spPr>
          <a:xfrm>
            <a:off x="3361056" y="3916998"/>
            <a:ext cx="1271904" cy="127190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a:t>
            </a:r>
            <a:endParaRPr lang="en-US" dirty="0"/>
          </a:p>
        </p:txBody>
      </p:sp>
      <p:sp>
        <p:nvSpPr>
          <p:cNvPr id="45"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7" hasCustomPrompt="1"/>
          </p:nvPr>
        </p:nvSpPr>
        <p:spPr>
          <a:xfrm>
            <a:off x="6210300" y="3916998"/>
            <a:ext cx="1271904" cy="127190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a:t>
            </a:r>
            <a:endParaRPr lang="en-US" dirty="0"/>
          </a:p>
        </p:txBody>
      </p:sp>
      <p:sp>
        <p:nvSpPr>
          <p:cNvPr id="46"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8" hasCustomPrompt="1"/>
          </p:nvPr>
        </p:nvSpPr>
        <p:spPr>
          <a:xfrm>
            <a:off x="9080500" y="3916998"/>
            <a:ext cx="1271904" cy="127190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a:t>
            </a:r>
            <a:endParaRPr lang="en-US" dirty="0"/>
          </a:p>
        </p:txBody>
      </p:sp>
      <p:sp>
        <p:nvSpPr>
          <p:cNvPr id="47" name="Text Placeholder 3">
            <a:extLst>
              <a:ext uri="{FF2B5EF4-FFF2-40B4-BE49-F238E27FC236}">
                <a16:creationId xmlns:a16="http://schemas.microsoft.com/office/drawing/2014/main" id="{36990999-1C86-3C4A-9E86-512FFE509F06}"/>
              </a:ext>
            </a:extLst>
          </p:cNvPr>
          <p:cNvSpPr>
            <a:spLocks noGrp="1"/>
          </p:cNvSpPr>
          <p:nvPr>
            <p:ph type="body" sz="half" idx="39" hasCustomPrompt="1"/>
          </p:nvPr>
        </p:nvSpPr>
        <p:spPr>
          <a:xfrm>
            <a:off x="336105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48" name="Text Placeholder 3">
            <a:extLst>
              <a:ext uri="{FF2B5EF4-FFF2-40B4-BE49-F238E27FC236}">
                <a16:creationId xmlns:a16="http://schemas.microsoft.com/office/drawing/2014/main" id="{0257D817-539C-DD4E-AE71-8174AB5D41C0}"/>
              </a:ext>
            </a:extLst>
          </p:cNvPr>
          <p:cNvSpPr>
            <a:spLocks noGrp="1"/>
          </p:cNvSpPr>
          <p:nvPr>
            <p:ph type="body" sz="half" idx="40" hasCustomPrompt="1"/>
          </p:nvPr>
        </p:nvSpPr>
        <p:spPr>
          <a:xfrm>
            <a:off x="336105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49" name="Text Placeholder 3">
            <a:extLst>
              <a:ext uri="{FF2B5EF4-FFF2-40B4-BE49-F238E27FC236}">
                <a16:creationId xmlns:a16="http://schemas.microsoft.com/office/drawing/2014/main" id="{36990999-1C86-3C4A-9E86-512FFE509F06}"/>
              </a:ext>
            </a:extLst>
          </p:cNvPr>
          <p:cNvSpPr>
            <a:spLocks noGrp="1"/>
          </p:cNvSpPr>
          <p:nvPr>
            <p:ph type="body" sz="half" idx="41" hasCustomPrompt="1"/>
          </p:nvPr>
        </p:nvSpPr>
        <p:spPr>
          <a:xfrm>
            <a:off x="620585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50" name="Text Placeholder 3">
            <a:extLst>
              <a:ext uri="{FF2B5EF4-FFF2-40B4-BE49-F238E27FC236}">
                <a16:creationId xmlns:a16="http://schemas.microsoft.com/office/drawing/2014/main" id="{0257D817-539C-DD4E-AE71-8174AB5D41C0}"/>
              </a:ext>
            </a:extLst>
          </p:cNvPr>
          <p:cNvSpPr>
            <a:spLocks noGrp="1"/>
          </p:cNvSpPr>
          <p:nvPr>
            <p:ph type="body" sz="half" idx="42" hasCustomPrompt="1"/>
          </p:nvPr>
        </p:nvSpPr>
        <p:spPr>
          <a:xfrm>
            <a:off x="620585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51" name="Text Placeholder 3">
            <a:extLst>
              <a:ext uri="{FF2B5EF4-FFF2-40B4-BE49-F238E27FC236}">
                <a16:creationId xmlns:a16="http://schemas.microsoft.com/office/drawing/2014/main" id="{36990999-1C86-3C4A-9E86-512FFE509F06}"/>
              </a:ext>
            </a:extLst>
          </p:cNvPr>
          <p:cNvSpPr>
            <a:spLocks noGrp="1"/>
          </p:cNvSpPr>
          <p:nvPr>
            <p:ph type="body" sz="half" idx="43" hasCustomPrompt="1"/>
          </p:nvPr>
        </p:nvSpPr>
        <p:spPr>
          <a:xfrm>
            <a:off x="908113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52" name="Text Placeholder 3">
            <a:extLst>
              <a:ext uri="{FF2B5EF4-FFF2-40B4-BE49-F238E27FC236}">
                <a16:creationId xmlns:a16="http://schemas.microsoft.com/office/drawing/2014/main" id="{0257D817-539C-DD4E-AE71-8174AB5D41C0}"/>
              </a:ext>
            </a:extLst>
          </p:cNvPr>
          <p:cNvSpPr>
            <a:spLocks noGrp="1"/>
          </p:cNvSpPr>
          <p:nvPr>
            <p:ph type="body" sz="half" idx="44" hasCustomPrompt="1"/>
          </p:nvPr>
        </p:nvSpPr>
        <p:spPr>
          <a:xfrm>
            <a:off x="908113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Tree>
    <p:extLst>
      <p:ext uri="{BB962C8B-B14F-4D97-AF65-F5344CB8AC3E}">
        <p14:creationId xmlns:p14="http://schemas.microsoft.com/office/powerpoint/2010/main" val="26382005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QUOT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4807"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54EA0D7-47B3-5149-B51A-CABC5742FBE7}"/>
              </a:ext>
            </a:extLst>
          </p:cNvPr>
          <p:cNvSpPr txBox="1"/>
          <p:nvPr/>
        </p:nvSpPr>
        <p:spPr>
          <a:xfrm>
            <a:off x="374977" y="2505671"/>
            <a:ext cx="5301131" cy="1846659"/>
          </a:xfrm>
          <a:prstGeom prst="rect">
            <a:avLst/>
          </a:prstGeom>
          <a:noFill/>
        </p:spPr>
        <p:txBody>
          <a:bodyPr wrap="none" lIns="0" tIns="0" rIns="0" bIns="0" rtlCol="0" anchor="ctr">
            <a:spAutoFit/>
          </a:bodyPr>
          <a:lstStyle/>
          <a:p>
            <a:pPr algn="l"/>
            <a:r>
              <a:rPr lang="en-US" sz="12000" b="1" i="0" dirty="0" smtClean="0">
                <a:solidFill>
                  <a:schemeClr val="bg1"/>
                </a:solidFill>
                <a:latin typeface="Arial" panose="020B0604020202020204" pitchFamily="34" charset="0"/>
                <a:cs typeface="Arial" panose="020B0604020202020204" pitchFamily="34" charset="0"/>
              </a:rPr>
              <a:t>Quote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393764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160A2B-5371-CA41-BD2F-F42585E23A68}"/>
              </a:ext>
            </a:extLst>
          </p:cNvPr>
          <p:cNvGraphicFramePr>
            <a:graphicFrameLocks noChangeAspect="1"/>
          </p:cNvGraphicFramePr>
          <p:nvPr>
            <p:custDataLst>
              <p:tags r:id="rId2"/>
            </p:custDataLst>
            <p:extLst>
              <p:ext uri="{D42A27DB-BD31-4B8C-83A1-F6EECF244321}">
                <p14:modId xmlns:p14="http://schemas.microsoft.com/office/powerpoint/2010/main" val="33384891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998"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B160A2B-5371-CA41-BD2F-F42585E23A6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ext Placeholder 3">
            <a:extLst>
              <a:ext uri="{FF2B5EF4-FFF2-40B4-BE49-F238E27FC236}">
                <a16:creationId xmlns:a16="http://schemas.microsoft.com/office/drawing/2014/main" id="{2C68D909-7F77-144F-A778-CADD0466B483}"/>
              </a:ext>
            </a:extLst>
          </p:cNvPr>
          <p:cNvSpPr>
            <a:spLocks noGrp="1"/>
          </p:cNvSpPr>
          <p:nvPr>
            <p:ph type="body" sz="half" idx="2" hasCustomPrompt="1"/>
          </p:nvPr>
        </p:nvSpPr>
        <p:spPr>
          <a:xfrm>
            <a:off x="485776" y="4979815"/>
            <a:ext cx="3578224" cy="803619"/>
          </a:xfrm>
        </p:spPr>
        <p:txBody>
          <a:bodyPr anchor="t"/>
          <a:lstStyle>
            <a:lvl1pPr marL="179388" indent="-179388">
              <a:lnSpc>
                <a:spcPct val="100000"/>
              </a:lnSpc>
              <a:spcBef>
                <a:spcPts val="0"/>
              </a:spcBef>
              <a:spcAft>
                <a:spcPts val="0"/>
              </a:spcAft>
              <a:buFont typeface="System Font Regular"/>
              <a:buChar char="–"/>
              <a:tabLst/>
              <a:defRPr lang="en-US" sz="1600" smtClean="0">
                <a:solidFill>
                  <a:schemeClr val="tx2"/>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dirty="0">
                <a:effectLst/>
                <a:latin typeface="Arial" panose="020B0604020202020204" pitchFamily="34" charset="0"/>
              </a:rPr>
              <a:t>Click to add author</a:t>
            </a:r>
          </a:p>
        </p:txBody>
      </p:sp>
      <p:sp>
        <p:nvSpPr>
          <p:cNvPr id="6" name="Title 1"/>
          <p:cNvSpPr>
            <a:spLocks noGrp="1"/>
          </p:cNvSpPr>
          <p:nvPr>
            <p:ph type="title" hasCustomPrompt="1"/>
          </p:nvPr>
        </p:nvSpPr>
        <p:spPr>
          <a:xfrm>
            <a:off x="482600" y="1807779"/>
            <a:ext cx="7404101" cy="3061084"/>
          </a:xfrm>
        </p:spPr>
        <p:txBody>
          <a:bodyPr/>
          <a:lstStyle>
            <a:lvl1pPr>
              <a:defRPr sz="5400">
                <a:solidFill>
                  <a:schemeClr val="tx2"/>
                </a:solidFill>
              </a:defRPr>
            </a:lvl1pPr>
          </a:lstStyle>
          <a:p>
            <a:r>
              <a:rPr lang="en-US" dirty="0" smtClean="0"/>
              <a:t>Click to add quote</a:t>
            </a:r>
            <a:endParaRPr lang="en-US" dirty="0"/>
          </a:p>
        </p:txBody>
      </p:sp>
    </p:spTree>
    <p:extLst>
      <p:ext uri="{BB962C8B-B14F-4D97-AF65-F5344CB8AC3E}">
        <p14:creationId xmlns:p14="http://schemas.microsoft.com/office/powerpoint/2010/main" val="91216267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160A2B-5371-CA41-BD2F-F42585E23A68}"/>
              </a:ext>
            </a:extLst>
          </p:cNvPr>
          <p:cNvGraphicFramePr>
            <a:graphicFrameLocks noChangeAspect="1"/>
          </p:cNvGraphicFramePr>
          <p:nvPr>
            <p:custDataLst>
              <p:tags r:id="rId2"/>
            </p:custDataLst>
            <p:extLst>
              <p:ext uri="{D42A27DB-BD31-4B8C-83A1-F6EECF244321}">
                <p14:modId xmlns:p14="http://schemas.microsoft.com/office/powerpoint/2010/main" val="15392296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7022"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B160A2B-5371-CA41-BD2F-F42585E23A6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ext Placeholder 3">
            <a:extLst>
              <a:ext uri="{FF2B5EF4-FFF2-40B4-BE49-F238E27FC236}">
                <a16:creationId xmlns:a16="http://schemas.microsoft.com/office/drawing/2014/main" id="{2C68D909-7F77-144F-A778-CADD0466B483}"/>
              </a:ext>
            </a:extLst>
          </p:cNvPr>
          <p:cNvSpPr>
            <a:spLocks noGrp="1"/>
          </p:cNvSpPr>
          <p:nvPr>
            <p:ph type="body" sz="half" idx="2" hasCustomPrompt="1"/>
          </p:nvPr>
        </p:nvSpPr>
        <p:spPr>
          <a:xfrm>
            <a:off x="485776" y="4979815"/>
            <a:ext cx="3578224" cy="803619"/>
          </a:xfrm>
        </p:spPr>
        <p:txBody>
          <a:bodyPr anchor="t"/>
          <a:lstStyle>
            <a:lvl1pPr marL="179388" indent="-179388">
              <a:lnSpc>
                <a:spcPct val="100000"/>
              </a:lnSpc>
              <a:spcBef>
                <a:spcPts val="0"/>
              </a:spcBef>
              <a:spcAft>
                <a:spcPts val="0"/>
              </a:spcAft>
              <a:buFont typeface="System Font Regular"/>
              <a:buChar char="–"/>
              <a:tabLst/>
              <a:defRPr lang="en-US" sz="1600" smtClean="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dirty="0">
                <a:effectLst/>
                <a:latin typeface="Arial" panose="020B0604020202020204" pitchFamily="34" charset="0"/>
              </a:rPr>
              <a:t>Click to add author</a:t>
            </a:r>
          </a:p>
        </p:txBody>
      </p:sp>
      <p:sp>
        <p:nvSpPr>
          <p:cNvPr id="9" name="TextBox 8">
            <a:extLst>
              <a:ext uri="{FF2B5EF4-FFF2-40B4-BE49-F238E27FC236}">
                <a16:creationId xmlns:a16="http://schemas.microsoft.com/office/drawing/2014/main" id="{02A92D50-B69F-614A-9C8F-D600BB0D9EB1}"/>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a:t>
            </a:fld>
            <a:endParaRPr lang="en-US" sz="800" kern="1200" dirty="0">
              <a:solidFill>
                <a:schemeClr val="bg1"/>
              </a:solidFill>
              <a:effectLst/>
              <a:latin typeface="+mn-lt"/>
              <a:ea typeface="+mn-ea"/>
              <a:cs typeface="+mn-cs"/>
            </a:endParaRPr>
          </a:p>
        </p:txBody>
      </p:sp>
      <p:sp>
        <p:nvSpPr>
          <p:cNvPr id="6" name="Title 1"/>
          <p:cNvSpPr>
            <a:spLocks noGrp="1"/>
          </p:cNvSpPr>
          <p:nvPr>
            <p:ph type="title" hasCustomPrompt="1"/>
          </p:nvPr>
        </p:nvSpPr>
        <p:spPr>
          <a:xfrm>
            <a:off x="482600" y="1807779"/>
            <a:ext cx="7404101" cy="3061084"/>
          </a:xfrm>
        </p:spPr>
        <p:txBody>
          <a:bodyPr/>
          <a:lstStyle>
            <a:lvl1pPr>
              <a:defRPr sz="5400">
                <a:solidFill>
                  <a:schemeClr val="bg1"/>
                </a:solidFill>
              </a:defRPr>
            </a:lvl1pPr>
          </a:lstStyle>
          <a:p>
            <a:r>
              <a:rPr lang="en-US" dirty="0" smtClean="0"/>
              <a:t>Click to add quote</a:t>
            </a:r>
            <a:endParaRPr lang="en-US" dirty="0"/>
          </a:p>
        </p:txBody>
      </p:sp>
    </p:spTree>
    <p:extLst>
      <p:ext uri="{BB962C8B-B14F-4D97-AF65-F5344CB8AC3E}">
        <p14:creationId xmlns:p14="http://schemas.microsoft.com/office/powerpoint/2010/main" val="3897396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38528138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540"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5" y="1609726"/>
            <a:ext cx="5495925" cy="4511674"/>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210303" y="1609725"/>
            <a:ext cx="5499098" cy="4511675"/>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4" y="6388100"/>
            <a:ext cx="4546596"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0" name="Title 1">
            <a:extLst>
              <a:ext uri="{FF2B5EF4-FFF2-40B4-BE49-F238E27FC236}">
                <a16:creationId xmlns:a16="http://schemas.microsoft.com/office/drawing/2014/main" id="{F39CC0C0-5779-B349-BDDB-E539A51CC8CA}"/>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1" name="Text Placeholder 3">
            <a:extLst>
              <a:ext uri="{FF2B5EF4-FFF2-40B4-BE49-F238E27FC236}">
                <a16:creationId xmlns:a16="http://schemas.microsoft.com/office/drawing/2014/main" id="{AF3391C4-98D7-4747-8880-F82E7546E92C}"/>
              </a:ext>
            </a:extLst>
          </p:cNvPr>
          <p:cNvSpPr>
            <a:spLocks noGrp="1"/>
          </p:cNvSpPr>
          <p:nvPr>
            <p:ph type="body" sz="half" idx="1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324423865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INTERACTIVE ELEMENT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3988"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52E706-1FE4-5448-BF88-BDD1A5847DF0}"/>
              </a:ext>
            </a:extLst>
          </p:cNvPr>
          <p:cNvSpPr txBox="1"/>
          <p:nvPr/>
        </p:nvSpPr>
        <p:spPr>
          <a:xfrm>
            <a:off x="374977" y="1582341"/>
            <a:ext cx="7700826" cy="3693319"/>
          </a:xfrm>
          <a:prstGeom prst="rect">
            <a:avLst/>
          </a:prstGeom>
          <a:noFill/>
        </p:spPr>
        <p:txBody>
          <a:bodyPr wrap="none" lIns="0" tIns="0" rIns="0" bIns="0" rtlCol="0" anchor="ctr">
            <a:spAutoFit/>
          </a:bodyPr>
          <a:lstStyle/>
          <a:p>
            <a:pPr algn="l"/>
            <a:r>
              <a:rPr lang="en-US" sz="12000" b="1" i="0" dirty="0" smtClean="0">
                <a:solidFill>
                  <a:schemeClr val="bg1"/>
                </a:solidFill>
                <a:latin typeface="Arial" panose="020B0604020202020204" pitchFamily="34" charset="0"/>
                <a:cs typeface="Arial" panose="020B0604020202020204" pitchFamily="34" charset="0"/>
              </a:rPr>
              <a:t>Interactive</a:t>
            </a:r>
          </a:p>
          <a:p>
            <a:pPr algn="l"/>
            <a:r>
              <a:rPr lang="en-US" sz="12000" b="1" i="0" dirty="0" smtClean="0">
                <a:solidFill>
                  <a:schemeClr val="bg1"/>
                </a:solidFill>
                <a:latin typeface="Arial" panose="020B0604020202020204" pitchFamily="34" charset="0"/>
                <a:cs typeface="Arial" panose="020B0604020202020204" pitchFamily="34" charset="0"/>
              </a:rPr>
              <a:t>element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776349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Interactive top">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5012"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485776" y="866775"/>
            <a:ext cx="11461750"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6394451"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p:ph type="body" sz="half" idx="2" hasCustomPrompt="1"/>
          </p:nvPr>
        </p:nvSpPr>
        <p:spPr>
          <a:xfrm>
            <a:off x="485776" y="1311632"/>
            <a:ext cx="11461750"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3" name="Rectangle 2"/>
          <p:cNvSpPr/>
          <p:nvPr userDrawn="1"/>
        </p:nvSpPr>
        <p:spPr>
          <a:xfrm>
            <a:off x="2815" y="-1"/>
            <a:ext cx="12189185" cy="61370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7" name="Rectangle 6"/>
          <p:cNvSpPr/>
          <p:nvPr userDrawn="1"/>
        </p:nvSpPr>
        <p:spPr>
          <a:xfrm>
            <a:off x="485776"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smtClean="0"/>
              <a:t>Section</a:t>
            </a:r>
            <a:r>
              <a:rPr lang="en-GB" sz="1400" baseline="0" dirty="0" smtClean="0"/>
              <a:t> 1</a:t>
            </a:r>
            <a:endParaRPr lang="en-GB" sz="1400" dirty="0"/>
          </a:p>
        </p:txBody>
      </p:sp>
      <p:sp>
        <p:nvSpPr>
          <p:cNvPr id="8" name="Rectangle 7"/>
          <p:cNvSpPr/>
          <p:nvPr userDrawn="1"/>
        </p:nvSpPr>
        <p:spPr>
          <a:xfrm>
            <a:off x="2437449"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smtClean="0"/>
              <a:t>Section</a:t>
            </a:r>
            <a:r>
              <a:rPr lang="en-GB" sz="1400" baseline="0" dirty="0" smtClean="0"/>
              <a:t> 2</a:t>
            </a:r>
            <a:endParaRPr lang="en-GB" sz="1400" dirty="0"/>
          </a:p>
        </p:txBody>
      </p:sp>
      <p:sp>
        <p:nvSpPr>
          <p:cNvPr id="9" name="Rectangle 8"/>
          <p:cNvSpPr/>
          <p:nvPr userDrawn="1"/>
        </p:nvSpPr>
        <p:spPr>
          <a:xfrm>
            <a:off x="4389122"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smtClean="0"/>
              <a:t>Section</a:t>
            </a:r>
            <a:r>
              <a:rPr lang="en-GB" sz="1400" baseline="0" dirty="0" smtClean="0"/>
              <a:t> 3</a:t>
            </a:r>
            <a:endParaRPr lang="en-GB" sz="1400" dirty="0"/>
          </a:p>
        </p:txBody>
      </p:sp>
      <p:sp>
        <p:nvSpPr>
          <p:cNvPr id="10" name="Rectangle 9"/>
          <p:cNvSpPr/>
          <p:nvPr userDrawn="1"/>
        </p:nvSpPr>
        <p:spPr>
          <a:xfrm>
            <a:off x="6340795"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smtClean="0"/>
              <a:t>Section</a:t>
            </a:r>
            <a:r>
              <a:rPr lang="en-GB" sz="1400" baseline="0" dirty="0" smtClean="0"/>
              <a:t> 4</a:t>
            </a:r>
            <a:endParaRPr lang="en-GB" sz="1400" dirty="0"/>
          </a:p>
        </p:txBody>
      </p:sp>
      <p:sp>
        <p:nvSpPr>
          <p:cNvPr id="11" name="Rectangle 10"/>
          <p:cNvSpPr/>
          <p:nvPr userDrawn="1"/>
        </p:nvSpPr>
        <p:spPr>
          <a:xfrm>
            <a:off x="8292468"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smtClean="0"/>
              <a:t>Section</a:t>
            </a:r>
            <a:r>
              <a:rPr lang="en-GB" sz="1400" baseline="0" dirty="0" smtClean="0"/>
              <a:t> 5</a:t>
            </a:r>
            <a:endParaRPr lang="en-GB" sz="1400" dirty="0"/>
          </a:p>
        </p:txBody>
      </p:sp>
      <p:sp>
        <p:nvSpPr>
          <p:cNvPr id="12" name="Rectangle 11"/>
          <p:cNvSpPr/>
          <p:nvPr userDrawn="1"/>
        </p:nvSpPr>
        <p:spPr>
          <a:xfrm>
            <a:off x="10244138"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smtClean="0"/>
              <a:t>Section</a:t>
            </a:r>
            <a:r>
              <a:rPr lang="en-GB" sz="1400" baseline="0" dirty="0" smtClean="0"/>
              <a:t> 6</a:t>
            </a:r>
            <a:endParaRPr lang="en-GB" sz="1400" dirty="0"/>
          </a:p>
        </p:txBody>
      </p:sp>
      <p:cxnSp>
        <p:nvCxnSpPr>
          <p:cNvPr id="14" name="Straight Connector 13"/>
          <p:cNvCxnSpPr/>
          <p:nvPr userDrawn="1"/>
        </p:nvCxnSpPr>
        <p:spPr>
          <a:xfrm>
            <a:off x="2314099"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4265772"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6217445"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8169118"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0120791"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Box 12"/>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smtClean="0">
                <a:solidFill>
                  <a:srgbClr val="FF0000"/>
                </a:solidFill>
              </a:rPr>
              <a:t>These slides provide</a:t>
            </a:r>
            <a:r>
              <a:rPr lang="en-US" sz="1050" baseline="0" dirty="0" smtClean="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smtClean="0">
              <a:solidFill>
                <a:srgbClr val="FF0000"/>
              </a:solidFill>
            </a:endParaRPr>
          </a:p>
          <a:p>
            <a:pPr algn="l"/>
            <a:r>
              <a:rPr lang="en-US" sz="1050" baseline="0" dirty="0" smtClean="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211680315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Interactive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6036"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485776" y="361950"/>
            <a:ext cx="9509124"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5429250"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p:ph type="body" sz="half" idx="2" hasCustomPrompt="1"/>
          </p:nvPr>
        </p:nvSpPr>
        <p:spPr>
          <a:xfrm>
            <a:off x="485776" y="806807"/>
            <a:ext cx="9509124"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8" name="Rectangle 7"/>
          <p:cNvSpPr/>
          <p:nvPr userDrawn="1"/>
        </p:nvSpPr>
        <p:spPr>
          <a:xfrm>
            <a:off x="10239375" y="3176"/>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smtClean="0"/>
              <a:t>Section</a:t>
            </a:r>
            <a:r>
              <a:rPr lang="en-GB" sz="1400" baseline="0" dirty="0" smtClean="0"/>
              <a:t> 1</a:t>
            </a:r>
            <a:endParaRPr lang="en-GB" sz="1400" dirty="0"/>
          </a:p>
        </p:txBody>
      </p:sp>
      <p:sp>
        <p:nvSpPr>
          <p:cNvPr id="9" name="Rectangle 8"/>
          <p:cNvSpPr/>
          <p:nvPr userDrawn="1"/>
        </p:nvSpPr>
        <p:spPr>
          <a:xfrm>
            <a:off x="10239375" y="1146251"/>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smtClean="0"/>
              <a:t>Section </a:t>
            </a:r>
            <a:r>
              <a:rPr lang="en-GB" sz="1400" baseline="0" dirty="0" smtClean="0"/>
              <a:t>2</a:t>
            </a:r>
            <a:endParaRPr lang="en-GB" sz="1400" dirty="0"/>
          </a:p>
        </p:txBody>
      </p:sp>
      <p:sp>
        <p:nvSpPr>
          <p:cNvPr id="10" name="Rectangle 9"/>
          <p:cNvSpPr/>
          <p:nvPr userDrawn="1"/>
        </p:nvSpPr>
        <p:spPr>
          <a:xfrm>
            <a:off x="10239375" y="2289325"/>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smtClean="0"/>
              <a:t>Section</a:t>
            </a:r>
            <a:r>
              <a:rPr lang="en-GB" sz="1400" baseline="0" dirty="0" smtClean="0"/>
              <a:t> 3</a:t>
            </a:r>
            <a:endParaRPr lang="en-GB" sz="1400" dirty="0"/>
          </a:p>
        </p:txBody>
      </p:sp>
      <p:sp>
        <p:nvSpPr>
          <p:cNvPr id="11" name="Rectangle 10"/>
          <p:cNvSpPr/>
          <p:nvPr userDrawn="1"/>
        </p:nvSpPr>
        <p:spPr>
          <a:xfrm>
            <a:off x="10239375" y="3432400"/>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smtClean="0"/>
              <a:t>Section</a:t>
            </a:r>
            <a:r>
              <a:rPr lang="en-GB" sz="1400" baseline="0" dirty="0" smtClean="0"/>
              <a:t> 4</a:t>
            </a:r>
            <a:endParaRPr lang="en-GB" sz="1400" dirty="0"/>
          </a:p>
        </p:txBody>
      </p:sp>
      <p:sp>
        <p:nvSpPr>
          <p:cNvPr id="12" name="Rectangle 11"/>
          <p:cNvSpPr/>
          <p:nvPr userDrawn="1"/>
        </p:nvSpPr>
        <p:spPr>
          <a:xfrm>
            <a:off x="10239375" y="4575475"/>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smtClean="0"/>
              <a:t>Section</a:t>
            </a:r>
            <a:r>
              <a:rPr lang="en-GB" sz="1400" baseline="0" dirty="0" smtClean="0"/>
              <a:t> 5</a:t>
            </a:r>
            <a:endParaRPr lang="en-GB" sz="1400" dirty="0"/>
          </a:p>
        </p:txBody>
      </p:sp>
      <p:sp>
        <p:nvSpPr>
          <p:cNvPr id="14" name="Rectangle 13"/>
          <p:cNvSpPr/>
          <p:nvPr userDrawn="1"/>
        </p:nvSpPr>
        <p:spPr>
          <a:xfrm>
            <a:off x="10239375" y="5718547"/>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smtClean="0"/>
              <a:t>Section</a:t>
            </a:r>
            <a:r>
              <a:rPr lang="en-GB" sz="1400" baseline="0" dirty="0" smtClean="0"/>
              <a:t> 6</a:t>
            </a:r>
            <a:endParaRPr lang="en-GB" sz="1400" dirty="0"/>
          </a:p>
        </p:txBody>
      </p:sp>
      <p:sp>
        <p:nvSpPr>
          <p:cNvPr id="18" name="Freeform 10"/>
          <p:cNvSpPr>
            <a:spLocks noEditPoints="1"/>
          </p:cNvSpPr>
          <p:nvPr userDrawn="1"/>
        </p:nvSpPr>
        <p:spPr bwMode="auto">
          <a:xfrm>
            <a:off x="11069333" y="1424425"/>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23"/>
          <p:cNvSpPr>
            <a:spLocks noEditPoints="1"/>
          </p:cNvSpPr>
          <p:nvPr userDrawn="1"/>
        </p:nvSpPr>
        <p:spPr bwMode="auto">
          <a:xfrm>
            <a:off x="11081842" y="4837714"/>
            <a:ext cx="267691" cy="317727"/>
          </a:xfrm>
          <a:custGeom>
            <a:avLst/>
            <a:gdLst>
              <a:gd name="T0" fmla="*/ 76 w 80"/>
              <a:gd name="T1" fmla="*/ 96 h 96"/>
              <a:gd name="T2" fmla="*/ 40 w 80"/>
              <a:gd name="T3" fmla="*/ 96 h 96"/>
              <a:gd name="T4" fmla="*/ 36 w 80"/>
              <a:gd name="T5" fmla="*/ 92 h 96"/>
              <a:gd name="T6" fmla="*/ 36 w 80"/>
              <a:gd name="T7" fmla="*/ 76 h 96"/>
              <a:gd name="T8" fmla="*/ 40 w 80"/>
              <a:gd name="T9" fmla="*/ 72 h 96"/>
              <a:gd name="T10" fmla="*/ 76 w 80"/>
              <a:gd name="T11" fmla="*/ 72 h 96"/>
              <a:gd name="T12" fmla="*/ 80 w 80"/>
              <a:gd name="T13" fmla="*/ 76 h 96"/>
              <a:gd name="T14" fmla="*/ 80 w 80"/>
              <a:gd name="T15" fmla="*/ 92 h 96"/>
              <a:gd name="T16" fmla="*/ 76 w 80"/>
              <a:gd name="T17" fmla="*/ 96 h 96"/>
              <a:gd name="T18" fmla="*/ 44 w 80"/>
              <a:gd name="T19" fmla="*/ 88 h 96"/>
              <a:gd name="T20" fmla="*/ 72 w 80"/>
              <a:gd name="T21" fmla="*/ 88 h 96"/>
              <a:gd name="T22" fmla="*/ 72 w 80"/>
              <a:gd name="T23" fmla="*/ 80 h 96"/>
              <a:gd name="T24" fmla="*/ 44 w 80"/>
              <a:gd name="T25" fmla="*/ 80 h 96"/>
              <a:gd name="T26" fmla="*/ 44 w 80"/>
              <a:gd name="T27" fmla="*/ 88 h 96"/>
              <a:gd name="T28" fmla="*/ 76 w 80"/>
              <a:gd name="T29" fmla="*/ 64 h 96"/>
              <a:gd name="T30" fmla="*/ 4 w 80"/>
              <a:gd name="T31" fmla="*/ 64 h 96"/>
              <a:gd name="T32" fmla="*/ 0 w 80"/>
              <a:gd name="T33" fmla="*/ 60 h 96"/>
              <a:gd name="T34" fmla="*/ 0 w 80"/>
              <a:gd name="T35" fmla="*/ 4 h 96"/>
              <a:gd name="T36" fmla="*/ 4 w 80"/>
              <a:gd name="T37" fmla="*/ 0 h 96"/>
              <a:gd name="T38" fmla="*/ 76 w 80"/>
              <a:gd name="T39" fmla="*/ 0 h 96"/>
              <a:gd name="T40" fmla="*/ 80 w 80"/>
              <a:gd name="T41" fmla="*/ 4 h 96"/>
              <a:gd name="T42" fmla="*/ 80 w 80"/>
              <a:gd name="T43" fmla="*/ 60 h 96"/>
              <a:gd name="T44" fmla="*/ 76 w 80"/>
              <a:gd name="T45" fmla="*/ 64 h 96"/>
              <a:gd name="T46" fmla="*/ 8 w 80"/>
              <a:gd name="T47" fmla="*/ 56 h 96"/>
              <a:gd name="T48" fmla="*/ 72 w 80"/>
              <a:gd name="T49" fmla="*/ 56 h 96"/>
              <a:gd name="T50" fmla="*/ 72 w 80"/>
              <a:gd name="T51" fmla="*/ 24 h 96"/>
              <a:gd name="T52" fmla="*/ 8 w 80"/>
              <a:gd name="T53" fmla="*/ 24 h 96"/>
              <a:gd name="T54" fmla="*/ 8 w 80"/>
              <a:gd name="T55" fmla="*/ 56 h 96"/>
              <a:gd name="T56" fmla="*/ 8 w 80"/>
              <a:gd name="T57" fmla="*/ 16 h 96"/>
              <a:gd name="T58" fmla="*/ 72 w 80"/>
              <a:gd name="T59" fmla="*/ 16 h 96"/>
              <a:gd name="T60" fmla="*/ 72 w 80"/>
              <a:gd name="T61" fmla="*/ 8 h 96"/>
              <a:gd name="T62" fmla="*/ 8 w 80"/>
              <a:gd name="T63" fmla="*/ 8 h 96"/>
              <a:gd name="T64" fmla="*/ 8 w 80"/>
              <a:gd name="T65"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96">
                <a:moveTo>
                  <a:pt x="76" y="96"/>
                </a:moveTo>
                <a:cubicBezTo>
                  <a:pt x="40" y="96"/>
                  <a:pt x="40" y="96"/>
                  <a:pt x="40" y="96"/>
                </a:cubicBezTo>
                <a:cubicBezTo>
                  <a:pt x="38" y="96"/>
                  <a:pt x="36" y="94"/>
                  <a:pt x="36" y="92"/>
                </a:cubicBezTo>
                <a:cubicBezTo>
                  <a:pt x="36" y="76"/>
                  <a:pt x="36" y="76"/>
                  <a:pt x="36" y="76"/>
                </a:cubicBezTo>
                <a:cubicBezTo>
                  <a:pt x="36" y="74"/>
                  <a:pt x="38" y="72"/>
                  <a:pt x="40" y="72"/>
                </a:cubicBezTo>
                <a:cubicBezTo>
                  <a:pt x="76" y="72"/>
                  <a:pt x="76" y="72"/>
                  <a:pt x="76" y="72"/>
                </a:cubicBezTo>
                <a:cubicBezTo>
                  <a:pt x="78" y="72"/>
                  <a:pt x="80" y="74"/>
                  <a:pt x="80" y="76"/>
                </a:cubicBezTo>
                <a:cubicBezTo>
                  <a:pt x="80" y="92"/>
                  <a:pt x="80" y="92"/>
                  <a:pt x="80" y="92"/>
                </a:cubicBezTo>
                <a:cubicBezTo>
                  <a:pt x="80" y="94"/>
                  <a:pt x="78" y="96"/>
                  <a:pt x="76" y="96"/>
                </a:cubicBezTo>
                <a:close/>
                <a:moveTo>
                  <a:pt x="44" y="88"/>
                </a:moveTo>
                <a:cubicBezTo>
                  <a:pt x="72" y="88"/>
                  <a:pt x="72" y="88"/>
                  <a:pt x="72" y="88"/>
                </a:cubicBezTo>
                <a:cubicBezTo>
                  <a:pt x="72" y="80"/>
                  <a:pt x="72" y="80"/>
                  <a:pt x="72" y="80"/>
                </a:cubicBezTo>
                <a:cubicBezTo>
                  <a:pt x="44" y="80"/>
                  <a:pt x="44" y="80"/>
                  <a:pt x="44" y="80"/>
                </a:cubicBezTo>
                <a:lnTo>
                  <a:pt x="44" y="88"/>
                </a:lnTo>
                <a:close/>
                <a:moveTo>
                  <a:pt x="76" y="64"/>
                </a:moveTo>
                <a:cubicBezTo>
                  <a:pt x="4" y="64"/>
                  <a:pt x="4" y="64"/>
                  <a:pt x="4" y="64"/>
                </a:cubicBezTo>
                <a:cubicBezTo>
                  <a:pt x="2" y="64"/>
                  <a:pt x="0" y="62"/>
                  <a:pt x="0" y="60"/>
                </a:cubicBezTo>
                <a:cubicBezTo>
                  <a:pt x="0" y="4"/>
                  <a:pt x="0" y="4"/>
                  <a:pt x="0" y="4"/>
                </a:cubicBezTo>
                <a:cubicBezTo>
                  <a:pt x="0" y="2"/>
                  <a:pt x="2" y="0"/>
                  <a:pt x="4" y="0"/>
                </a:cubicBezTo>
                <a:cubicBezTo>
                  <a:pt x="76" y="0"/>
                  <a:pt x="76" y="0"/>
                  <a:pt x="76" y="0"/>
                </a:cubicBezTo>
                <a:cubicBezTo>
                  <a:pt x="78" y="0"/>
                  <a:pt x="80" y="2"/>
                  <a:pt x="80" y="4"/>
                </a:cubicBezTo>
                <a:cubicBezTo>
                  <a:pt x="80" y="60"/>
                  <a:pt x="80" y="60"/>
                  <a:pt x="80" y="60"/>
                </a:cubicBezTo>
                <a:cubicBezTo>
                  <a:pt x="80" y="62"/>
                  <a:pt x="78" y="64"/>
                  <a:pt x="76" y="64"/>
                </a:cubicBezTo>
                <a:close/>
                <a:moveTo>
                  <a:pt x="8" y="56"/>
                </a:moveTo>
                <a:cubicBezTo>
                  <a:pt x="72" y="56"/>
                  <a:pt x="72" y="56"/>
                  <a:pt x="72" y="56"/>
                </a:cubicBezTo>
                <a:cubicBezTo>
                  <a:pt x="72" y="24"/>
                  <a:pt x="72" y="24"/>
                  <a:pt x="72" y="24"/>
                </a:cubicBezTo>
                <a:cubicBezTo>
                  <a:pt x="8" y="24"/>
                  <a:pt x="8" y="24"/>
                  <a:pt x="8" y="24"/>
                </a:cubicBezTo>
                <a:lnTo>
                  <a:pt x="8" y="56"/>
                </a:lnTo>
                <a:close/>
                <a:moveTo>
                  <a:pt x="8" y="16"/>
                </a:moveTo>
                <a:cubicBezTo>
                  <a:pt x="72" y="16"/>
                  <a:pt x="72" y="16"/>
                  <a:pt x="72" y="16"/>
                </a:cubicBezTo>
                <a:cubicBezTo>
                  <a:pt x="72" y="8"/>
                  <a:pt x="72" y="8"/>
                  <a:pt x="72" y="8"/>
                </a:cubicBezTo>
                <a:cubicBezTo>
                  <a:pt x="8" y="8"/>
                  <a:pt x="8" y="8"/>
                  <a:pt x="8" y="8"/>
                </a:cubicBezTo>
                <a:lnTo>
                  <a:pt x="8"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0" name="Group 13"/>
          <p:cNvGrpSpPr>
            <a:grpSpLocks noChangeAspect="1"/>
          </p:cNvGrpSpPr>
          <p:nvPr userDrawn="1"/>
        </p:nvGrpSpPr>
        <p:grpSpPr bwMode="auto">
          <a:xfrm>
            <a:off x="11081216" y="2554763"/>
            <a:ext cx="268942" cy="323982"/>
            <a:chOff x="292" y="2131"/>
            <a:chExt cx="215" cy="259"/>
          </a:xfrm>
          <a:solidFill>
            <a:schemeClr val="bg1"/>
          </a:solidFill>
        </p:grpSpPr>
        <p:sp>
          <p:nvSpPr>
            <p:cNvPr id="21"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3" name="Group 26"/>
          <p:cNvGrpSpPr>
            <a:grpSpLocks noChangeAspect="1"/>
          </p:cNvGrpSpPr>
          <p:nvPr userDrawn="1"/>
        </p:nvGrpSpPr>
        <p:grpSpPr bwMode="auto">
          <a:xfrm>
            <a:off x="11081841" y="5970546"/>
            <a:ext cx="267692" cy="317727"/>
            <a:chOff x="3091" y="1784"/>
            <a:chExt cx="214" cy="254"/>
          </a:xfrm>
          <a:solidFill>
            <a:schemeClr val="bg1"/>
          </a:solidFill>
        </p:grpSpPr>
        <p:sp>
          <p:nvSpPr>
            <p:cNvPr id="24" name="Freeform 27"/>
            <p:cNvSpPr>
              <a:spLocks noEditPoints="1"/>
            </p:cNvSpPr>
            <p:nvPr/>
          </p:nvSpPr>
          <p:spPr bwMode="auto">
            <a:xfrm>
              <a:off x="3091" y="1784"/>
              <a:ext cx="214" cy="254"/>
            </a:xfrm>
            <a:custGeom>
              <a:avLst/>
              <a:gdLst>
                <a:gd name="T0" fmla="*/ 76 w 80"/>
                <a:gd name="T1" fmla="*/ 96 h 96"/>
                <a:gd name="T2" fmla="*/ 4 w 80"/>
                <a:gd name="T3" fmla="*/ 96 h 96"/>
                <a:gd name="T4" fmla="*/ 0 w 80"/>
                <a:gd name="T5" fmla="*/ 92 h 96"/>
                <a:gd name="T6" fmla="*/ 0 w 80"/>
                <a:gd name="T7" fmla="*/ 4 h 96"/>
                <a:gd name="T8" fmla="*/ 4 w 80"/>
                <a:gd name="T9" fmla="*/ 0 h 96"/>
                <a:gd name="T10" fmla="*/ 76 w 80"/>
                <a:gd name="T11" fmla="*/ 0 h 96"/>
                <a:gd name="T12" fmla="*/ 80 w 80"/>
                <a:gd name="T13" fmla="*/ 4 h 96"/>
                <a:gd name="T14" fmla="*/ 80 w 80"/>
                <a:gd name="T15" fmla="*/ 92 h 96"/>
                <a:gd name="T16" fmla="*/ 76 w 80"/>
                <a:gd name="T17" fmla="*/ 96 h 96"/>
                <a:gd name="T18" fmla="*/ 8 w 80"/>
                <a:gd name="T19" fmla="*/ 88 h 96"/>
                <a:gd name="T20" fmla="*/ 72 w 80"/>
                <a:gd name="T21" fmla="*/ 88 h 96"/>
                <a:gd name="T22" fmla="*/ 72 w 80"/>
                <a:gd name="T23" fmla="*/ 8 h 96"/>
                <a:gd name="T24" fmla="*/ 8 w 80"/>
                <a:gd name="T25" fmla="*/ 8 h 96"/>
                <a:gd name="T26" fmla="*/ 8 w 80"/>
                <a:gd name="T27" fmla="*/ 88 h 96"/>
                <a:gd name="T28" fmla="*/ 40 w 80"/>
                <a:gd name="T29" fmla="*/ 80 h 96"/>
                <a:gd name="T30" fmla="*/ 36 w 80"/>
                <a:gd name="T31" fmla="*/ 76 h 96"/>
                <a:gd name="T32" fmla="*/ 36 w 80"/>
                <a:gd name="T33" fmla="*/ 20 h 96"/>
                <a:gd name="T34" fmla="*/ 40 w 80"/>
                <a:gd name="T35" fmla="*/ 16 h 96"/>
                <a:gd name="T36" fmla="*/ 44 w 80"/>
                <a:gd name="T37" fmla="*/ 20 h 96"/>
                <a:gd name="T38" fmla="*/ 44 w 80"/>
                <a:gd name="T39" fmla="*/ 76 h 96"/>
                <a:gd name="T40" fmla="*/ 40 w 80"/>
                <a:gd name="T41" fmla="*/ 8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96">
                  <a:moveTo>
                    <a:pt x="76" y="96"/>
                  </a:moveTo>
                  <a:cubicBezTo>
                    <a:pt x="4" y="96"/>
                    <a:pt x="4" y="96"/>
                    <a:pt x="4" y="96"/>
                  </a:cubicBezTo>
                  <a:cubicBezTo>
                    <a:pt x="2" y="96"/>
                    <a:pt x="0" y="94"/>
                    <a:pt x="0" y="92"/>
                  </a:cubicBezTo>
                  <a:cubicBezTo>
                    <a:pt x="0" y="4"/>
                    <a:pt x="0" y="4"/>
                    <a:pt x="0" y="4"/>
                  </a:cubicBezTo>
                  <a:cubicBezTo>
                    <a:pt x="0" y="2"/>
                    <a:pt x="2" y="0"/>
                    <a:pt x="4" y="0"/>
                  </a:cubicBezTo>
                  <a:cubicBezTo>
                    <a:pt x="76" y="0"/>
                    <a:pt x="76" y="0"/>
                    <a:pt x="76" y="0"/>
                  </a:cubicBezTo>
                  <a:cubicBezTo>
                    <a:pt x="78" y="0"/>
                    <a:pt x="80" y="2"/>
                    <a:pt x="80" y="4"/>
                  </a:cubicBezTo>
                  <a:cubicBezTo>
                    <a:pt x="80" y="92"/>
                    <a:pt x="80" y="92"/>
                    <a:pt x="80" y="92"/>
                  </a:cubicBezTo>
                  <a:cubicBezTo>
                    <a:pt x="80" y="94"/>
                    <a:pt x="78" y="96"/>
                    <a:pt x="76" y="96"/>
                  </a:cubicBezTo>
                  <a:close/>
                  <a:moveTo>
                    <a:pt x="8" y="88"/>
                  </a:moveTo>
                  <a:cubicBezTo>
                    <a:pt x="72" y="88"/>
                    <a:pt x="72" y="88"/>
                    <a:pt x="72" y="88"/>
                  </a:cubicBezTo>
                  <a:cubicBezTo>
                    <a:pt x="72" y="8"/>
                    <a:pt x="72" y="8"/>
                    <a:pt x="72" y="8"/>
                  </a:cubicBezTo>
                  <a:cubicBezTo>
                    <a:pt x="8" y="8"/>
                    <a:pt x="8" y="8"/>
                    <a:pt x="8" y="8"/>
                  </a:cubicBezTo>
                  <a:lnTo>
                    <a:pt x="8" y="88"/>
                  </a:lnTo>
                  <a:close/>
                  <a:moveTo>
                    <a:pt x="40" y="80"/>
                  </a:moveTo>
                  <a:cubicBezTo>
                    <a:pt x="38" y="80"/>
                    <a:pt x="36" y="78"/>
                    <a:pt x="36" y="76"/>
                  </a:cubicBezTo>
                  <a:cubicBezTo>
                    <a:pt x="36" y="20"/>
                    <a:pt x="36" y="20"/>
                    <a:pt x="36" y="20"/>
                  </a:cubicBezTo>
                  <a:cubicBezTo>
                    <a:pt x="36" y="18"/>
                    <a:pt x="38" y="16"/>
                    <a:pt x="40" y="16"/>
                  </a:cubicBezTo>
                  <a:cubicBezTo>
                    <a:pt x="42" y="16"/>
                    <a:pt x="44" y="18"/>
                    <a:pt x="44" y="20"/>
                  </a:cubicBezTo>
                  <a:cubicBezTo>
                    <a:pt x="44" y="76"/>
                    <a:pt x="44" y="76"/>
                    <a:pt x="44" y="76"/>
                  </a:cubicBezTo>
                  <a:cubicBezTo>
                    <a:pt x="44" y="78"/>
                    <a:pt x="42"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28"/>
            <p:cNvSpPr>
              <a:spLocks/>
            </p:cNvSpPr>
            <p:nvPr/>
          </p:nvSpPr>
          <p:spPr bwMode="auto">
            <a:xfrm>
              <a:off x="3145" y="1837"/>
              <a:ext cx="101" cy="138"/>
            </a:xfrm>
            <a:custGeom>
              <a:avLst/>
              <a:gdLst>
                <a:gd name="T0" fmla="*/ 19 w 38"/>
                <a:gd name="T1" fmla="*/ 52 h 52"/>
                <a:gd name="T2" fmla="*/ 3 w 38"/>
                <a:gd name="T3" fmla="*/ 49 h 52"/>
                <a:gd name="T4" fmla="*/ 1 w 38"/>
                <a:gd name="T5" fmla="*/ 43 h 52"/>
                <a:gd name="T6" fmla="*/ 6 w 38"/>
                <a:gd name="T7" fmla="*/ 41 h 52"/>
                <a:gd name="T8" fmla="*/ 27 w 38"/>
                <a:gd name="T9" fmla="*/ 42 h 52"/>
                <a:gd name="T10" fmla="*/ 29 w 38"/>
                <a:gd name="T11" fmla="*/ 37 h 52"/>
                <a:gd name="T12" fmla="*/ 19 w 38"/>
                <a:gd name="T13" fmla="*/ 31 h 52"/>
                <a:gd name="T14" fmla="*/ 3 w 38"/>
                <a:gd name="T15" fmla="*/ 15 h 52"/>
                <a:gd name="T16" fmla="*/ 9 w 38"/>
                <a:gd name="T17" fmla="*/ 4 h 52"/>
                <a:gd name="T18" fmla="*/ 36 w 38"/>
                <a:gd name="T19" fmla="*/ 5 h 52"/>
                <a:gd name="T20" fmla="*/ 37 w 38"/>
                <a:gd name="T21" fmla="*/ 11 h 52"/>
                <a:gd name="T22" fmla="*/ 32 w 38"/>
                <a:gd name="T23" fmla="*/ 12 h 52"/>
                <a:gd name="T24" fmla="*/ 13 w 38"/>
                <a:gd name="T25" fmla="*/ 11 h 52"/>
                <a:gd name="T26" fmla="*/ 11 w 38"/>
                <a:gd name="T27" fmla="*/ 15 h 52"/>
                <a:gd name="T28" fmla="*/ 22 w 38"/>
                <a:gd name="T29" fmla="*/ 23 h 52"/>
                <a:gd name="T30" fmla="*/ 37 w 38"/>
                <a:gd name="T31" fmla="*/ 37 h 52"/>
                <a:gd name="T32" fmla="*/ 31 w 38"/>
                <a:gd name="T33" fmla="*/ 49 h 52"/>
                <a:gd name="T34" fmla="*/ 19 w 38"/>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2">
                  <a:moveTo>
                    <a:pt x="19" y="52"/>
                  </a:moveTo>
                  <a:cubicBezTo>
                    <a:pt x="14" y="52"/>
                    <a:pt x="8" y="50"/>
                    <a:pt x="3" y="49"/>
                  </a:cubicBezTo>
                  <a:cubicBezTo>
                    <a:pt x="1" y="48"/>
                    <a:pt x="0" y="45"/>
                    <a:pt x="1" y="43"/>
                  </a:cubicBezTo>
                  <a:cubicBezTo>
                    <a:pt x="1" y="41"/>
                    <a:pt x="4" y="40"/>
                    <a:pt x="6" y="41"/>
                  </a:cubicBezTo>
                  <a:cubicBezTo>
                    <a:pt x="14" y="44"/>
                    <a:pt x="23" y="45"/>
                    <a:pt x="27" y="42"/>
                  </a:cubicBezTo>
                  <a:cubicBezTo>
                    <a:pt x="28" y="41"/>
                    <a:pt x="29" y="40"/>
                    <a:pt x="29" y="37"/>
                  </a:cubicBezTo>
                  <a:cubicBezTo>
                    <a:pt x="29" y="34"/>
                    <a:pt x="26" y="33"/>
                    <a:pt x="19" y="31"/>
                  </a:cubicBezTo>
                  <a:cubicBezTo>
                    <a:pt x="12" y="28"/>
                    <a:pt x="3" y="25"/>
                    <a:pt x="3" y="15"/>
                  </a:cubicBezTo>
                  <a:cubicBezTo>
                    <a:pt x="3" y="10"/>
                    <a:pt x="5" y="6"/>
                    <a:pt x="9" y="4"/>
                  </a:cubicBezTo>
                  <a:cubicBezTo>
                    <a:pt x="17" y="0"/>
                    <a:pt x="30" y="2"/>
                    <a:pt x="36" y="5"/>
                  </a:cubicBezTo>
                  <a:cubicBezTo>
                    <a:pt x="37" y="6"/>
                    <a:pt x="38" y="9"/>
                    <a:pt x="37" y="11"/>
                  </a:cubicBezTo>
                  <a:cubicBezTo>
                    <a:pt x="36" y="13"/>
                    <a:pt x="34" y="13"/>
                    <a:pt x="32" y="12"/>
                  </a:cubicBezTo>
                  <a:cubicBezTo>
                    <a:pt x="28" y="10"/>
                    <a:pt x="18" y="8"/>
                    <a:pt x="13" y="11"/>
                  </a:cubicBezTo>
                  <a:cubicBezTo>
                    <a:pt x="11" y="12"/>
                    <a:pt x="11" y="13"/>
                    <a:pt x="11" y="15"/>
                  </a:cubicBezTo>
                  <a:cubicBezTo>
                    <a:pt x="11" y="19"/>
                    <a:pt x="14" y="21"/>
                    <a:pt x="22" y="23"/>
                  </a:cubicBezTo>
                  <a:cubicBezTo>
                    <a:pt x="28" y="25"/>
                    <a:pt x="37" y="28"/>
                    <a:pt x="37" y="37"/>
                  </a:cubicBezTo>
                  <a:cubicBezTo>
                    <a:pt x="37" y="43"/>
                    <a:pt x="34" y="47"/>
                    <a:pt x="31" y="49"/>
                  </a:cubicBezTo>
                  <a:cubicBezTo>
                    <a:pt x="28" y="51"/>
                    <a:pt x="24" y="52"/>
                    <a:pt x="1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4"/>
          <p:cNvGrpSpPr>
            <a:grpSpLocks noChangeAspect="1"/>
          </p:cNvGrpSpPr>
          <p:nvPr userDrawn="1"/>
        </p:nvGrpSpPr>
        <p:grpSpPr bwMode="auto">
          <a:xfrm>
            <a:off x="11055573" y="291565"/>
            <a:ext cx="320229" cy="292709"/>
            <a:chOff x="293" y="695"/>
            <a:chExt cx="256" cy="234"/>
          </a:xfrm>
          <a:solidFill>
            <a:schemeClr val="bg1"/>
          </a:solidFill>
        </p:grpSpPr>
        <p:sp>
          <p:nvSpPr>
            <p:cNvPr id="27"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9" name="Freeform 19"/>
          <p:cNvSpPr>
            <a:spLocks noEditPoints="1"/>
          </p:cNvSpPr>
          <p:nvPr userDrawn="1"/>
        </p:nvSpPr>
        <p:spPr bwMode="auto">
          <a:xfrm>
            <a:off x="11063704" y="3701460"/>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TextBox 29"/>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smtClean="0">
                <a:solidFill>
                  <a:srgbClr val="FF0000"/>
                </a:solidFill>
              </a:rPr>
              <a:t>These slides provide</a:t>
            </a:r>
            <a:r>
              <a:rPr lang="en-US" sz="1050" baseline="0" dirty="0" smtClean="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smtClean="0">
              <a:solidFill>
                <a:srgbClr val="FF0000"/>
              </a:solidFill>
            </a:endParaRPr>
          </a:p>
          <a:p>
            <a:pPr algn="l"/>
            <a:r>
              <a:rPr lang="en-US" sz="1050" baseline="0" dirty="0" smtClean="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4231265299"/>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Interactive right condensed">
    <p:spTree>
      <p:nvGrpSpPr>
        <p:cNvPr id="1" name=""/>
        <p:cNvGrpSpPr/>
        <p:nvPr/>
      </p:nvGrpSpPr>
      <p:grpSpPr>
        <a:xfrm>
          <a:off x="0" y="0"/>
          <a:ext cx="0" cy="0"/>
          <a:chOff x="0" y="0"/>
          <a:chExt cx="0" cy="0"/>
        </a:xfrm>
      </p:grpSpPr>
      <p:sp>
        <p:nvSpPr>
          <p:cNvPr id="88" name="Rectangle 87"/>
          <p:cNvSpPr/>
          <p:nvPr userDrawn="1"/>
        </p:nvSpPr>
        <p:spPr>
          <a:xfrm>
            <a:off x="10033000" y="0"/>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6" name="Rectangle 65"/>
          <p:cNvSpPr/>
          <p:nvPr userDrawn="1"/>
        </p:nvSpPr>
        <p:spPr>
          <a:xfrm>
            <a:off x="10033000" y="685682"/>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7" name="Rectangle 66"/>
          <p:cNvSpPr/>
          <p:nvPr userDrawn="1"/>
        </p:nvSpPr>
        <p:spPr>
          <a:xfrm>
            <a:off x="10033000" y="1371364"/>
            <a:ext cx="2159000" cy="68685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3" name="Rectangle 102"/>
          <p:cNvSpPr/>
          <p:nvPr userDrawn="1"/>
        </p:nvSpPr>
        <p:spPr>
          <a:xfrm>
            <a:off x="10033000" y="2057046"/>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4" name="Rectangle 103"/>
          <p:cNvSpPr/>
          <p:nvPr userDrawn="1"/>
        </p:nvSpPr>
        <p:spPr>
          <a:xfrm>
            <a:off x="10033000" y="2742728"/>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5" name="Rectangle 104"/>
          <p:cNvSpPr/>
          <p:nvPr userDrawn="1"/>
        </p:nvSpPr>
        <p:spPr>
          <a:xfrm>
            <a:off x="10033000" y="3428410"/>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6" name="Rectangle 105"/>
          <p:cNvSpPr/>
          <p:nvPr userDrawn="1"/>
        </p:nvSpPr>
        <p:spPr>
          <a:xfrm>
            <a:off x="10033000" y="4114092"/>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7" name="Rectangle 106"/>
          <p:cNvSpPr/>
          <p:nvPr userDrawn="1"/>
        </p:nvSpPr>
        <p:spPr>
          <a:xfrm>
            <a:off x="10033000" y="4799774"/>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8" name="Rectangle 107"/>
          <p:cNvSpPr/>
          <p:nvPr userDrawn="1"/>
        </p:nvSpPr>
        <p:spPr>
          <a:xfrm>
            <a:off x="10033000" y="5485456"/>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9" name="Rectangle 108"/>
          <p:cNvSpPr/>
          <p:nvPr userDrawn="1"/>
        </p:nvSpPr>
        <p:spPr>
          <a:xfrm>
            <a:off x="10033000" y="6171142"/>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userDrawn="1">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7060"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userDrawn="1">
            <p:ph type="title" hasCustomPrompt="1"/>
          </p:nvPr>
        </p:nvSpPr>
        <p:spPr>
          <a:xfrm>
            <a:off x="485776" y="361950"/>
            <a:ext cx="9509124"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userDrawn="1">
            <p:ph type="body" sz="half" idx="15" hasCustomPrompt="1"/>
          </p:nvPr>
        </p:nvSpPr>
        <p:spPr>
          <a:xfrm>
            <a:off x="5200650"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userDrawn="1">
            <p:ph type="body" sz="half" idx="2" hasCustomPrompt="1"/>
          </p:nvPr>
        </p:nvSpPr>
        <p:spPr>
          <a:xfrm>
            <a:off x="485776" y="806807"/>
            <a:ext cx="9509124"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grpSp>
        <p:nvGrpSpPr>
          <p:cNvPr id="100" name="Group 99"/>
          <p:cNvGrpSpPr/>
          <p:nvPr userDrawn="1"/>
        </p:nvGrpSpPr>
        <p:grpSpPr>
          <a:xfrm>
            <a:off x="10460877" y="866671"/>
            <a:ext cx="1208299" cy="268942"/>
            <a:chOff x="10460877" y="887251"/>
            <a:chExt cx="1208299" cy="268942"/>
          </a:xfrm>
        </p:grpSpPr>
        <p:sp>
          <p:nvSpPr>
            <p:cNvPr id="9" name="Rectangle 8"/>
            <p:cNvSpPr/>
            <p:nvPr userDrawn="1"/>
          </p:nvSpPr>
          <p:spPr>
            <a:xfrm>
              <a:off x="10922177" y="913999"/>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smtClean="0">
                  <a:solidFill>
                    <a:schemeClr val="accent2"/>
                  </a:solidFill>
                </a:rPr>
                <a:t>Section </a:t>
              </a:r>
              <a:r>
                <a:rPr lang="en-GB" sz="1400" baseline="0" dirty="0" smtClean="0">
                  <a:solidFill>
                    <a:schemeClr val="accent2"/>
                  </a:solidFill>
                </a:rPr>
                <a:t>2</a:t>
              </a:r>
              <a:endParaRPr lang="en-GB" sz="1400" dirty="0">
                <a:solidFill>
                  <a:schemeClr val="accent2"/>
                </a:solidFill>
              </a:endParaRPr>
            </a:p>
          </p:txBody>
        </p:sp>
        <p:sp>
          <p:nvSpPr>
            <p:cNvPr id="68" name="Freeform 10"/>
            <p:cNvSpPr>
              <a:spLocks noEditPoints="1"/>
            </p:cNvSpPr>
            <p:nvPr userDrawn="1"/>
          </p:nvSpPr>
          <p:spPr bwMode="auto">
            <a:xfrm>
              <a:off x="10460877" y="887251"/>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5" name="Group 24"/>
          <p:cNvGrpSpPr/>
          <p:nvPr userDrawn="1"/>
        </p:nvGrpSpPr>
        <p:grpSpPr>
          <a:xfrm>
            <a:off x="10473386" y="2911468"/>
            <a:ext cx="1195790" cy="317727"/>
            <a:chOff x="10473386" y="2964687"/>
            <a:chExt cx="1195790" cy="317727"/>
          </a:xfrm>
        </p:grpSpPr>
        <p:sp>
          <p:nvSpPr>
            <p:cNvPr id="12" name="Rectangle 11"/>
            <p:cNvSpPr/>
            <p:nvPr userDrawn="1"/>
          </p:nvSpPr>
          <p:spPr>
            <a:xfrm>
              <a:off x="10922177" y="2977382"/>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smtClean="0">
                  <a:solidFill>
                    <a:schemeClr val="accent2"/>
                  </a:solidFill>
                </a:rPr>
                <a:t>Section</a:t>
              </a:r>
              <a:r>
                <a:rPr lang="en-GB" sz="1400" baseline="0" dirty="0" smtClean="0">
                  <a:solidFill>
                    <a:schemeClr val="accent2"/>
                  </a:solidFill>
                </a:rPr>
                <a:t> 5</a:t>
              </a:r>
              <a:endParaRPr lang="en-GB" sz="1400" dirty="0">
                <a:solidFill>
                  <a:schemeClr val="accent2"/>
                </a:solidFill>
              </a:endParaRPr>
            </a:p>
          </p:txBody>
        </p:sp>
        <p:sp>
          <p:nvSpPr>
            <p:cNvPr id="69" name="Freeform 23"/>
            <p:cNvSpPr>
              <a:spLocks noEditPoints="1"/>
            </p:cNvSpPr>
            <p:nvPr userDrawn="1"/>
          </p:nvSpPr>
          <p:spPr bwMode="auto">
            <a:xfrm>
              <a:off x="10473386" y="2964687"/>
              <a:ext cx="267691" cy="317727"/>
            </a:xfrm>
            <a:custGeom>
              <a:avLst/>
              <a:gdLst>
                <a:gd name="T0" fmla="*/ 76 w 80"/>
                <a:gd name="T1" fmla="*/ 96 h 96"/>
                <a:gd name="T2" fmla="*/ 40 w 80"/>
                <a:gd name="T3" fmla="*/ 96 h 96"/>
                <a:gd name="T4" fmla="*/ 36 w 80"/>
                <a:gd name="T5" fmla="*/ 92 h 96"/>
                <a:gd name="T6" fmla="*/ 36 w 80"/>
                <a:gd name="T7" fmla="*/ 76 h 96"/>
                <a:gd name="T8" fmla="*/ 40 w 80"/>
                <a:gd name="T9" fmla="*/ 72 h 96"/>
                <a:gd name="T10" fmla="*/ 76 w 80"/>
                <a:gd name="T11" fmla="*/ 72 h 96"/>
                <a:gd name="T12" fmla="*/ 80 w 80"/>
                <a:gd name="T13" fmla="*/ 76 h 96"/>
                <a:gd name="T14" fmla="*/ 80 w 80"/>
                <a:gd name="T15" fmla="*/ 92 h 96"/>
                <a:gd name="T16" fmla="*/ 76 w 80"/>
                <a:gd name="T17" fmla="*/ 96 h 96"/>
                <a:gd name="T18" fmla="*/ 44 w 80"/>
                <a:gd name="T19" fmla="*/ 88 h 96"/>
                <a:gd name="T20" fmla="*/ 72 w 80"/>
                <a:gd name="T21" fmla="*/ 88 h 96"/>
                <a:gd name="T22" fmla="*/ 72 w 80"/>
                <a:gd name="T23" fmla="*/ 80 h 96"/>
                <a:gd name="T24" fmla="*/ 44 w 80"/>
                <a:gd name="T25" fmla="*/ 80 h 96"/>
                <a:gd name="T26" fmla="*/ 44 w 80"/>
                <a:gd name="T27" fmla="*/ 88 h 96"/>
                <a:gd name="T28" fmla="*/ 76 w 80"/>
                <a:gd name="T29" fmla="*/ 64 h 96"/>
                <a:gd name="T30" fmla="*/ 4 w 80"/>
                <a:gd name="T31" fmla="*/ 64 h 96"/>
                <a:gd name="T32" fmla="*/ 0 w 80"/>
                <a:gd name="T33" fmla="*/ 60 h 96"/>
                <a:gd name="T34" fmla="*/ 0 w 80"/>
                <a:gd name="T35" fmla="*/ 4 h 96"/>
                <a:gd name="T36" fmla="*/ 4 w 80"/>
                <a:gd name="T37" fmla="*/ 0 h 96"/>
                <a:gd name="T38" fmla="*/ 76 w 80"/>
                <a:gd name="T39" fmla="*/ 0 h 96"/>
                <a:gd name="T40" fmla="*/ 80 w 80"/>
                <a:gd name="T41" fmla="*/ 4 h 96"/>
                <a:gd name="T42" fmla="*/ 80 w 80"/>
                <a:gd name="T43" fmla="*/ 60 h 96"/>
                <a:gd name="T44" fmla="*/ 76 w 80"/>
                <a:gd name="T45" fmla="*/ 64 h 96"/>
                <a:gd name="T46" fmla="*/ 8 w 80"/>
                <a:gd name="T47" fmla="*/ 56 h 96"/>
                <a:gd name="T48" fmla="*/ 72 w 80"/>
                <a:gd name="T49" fmla="*/ 56 h 96"/>
                <a:gd name="T50" fmla="*/ 72 w 80"/>
                <a:gd name="T51" fmla="*/ 24 h 96"/>
                <a:gd name="T52" fmla="*/ 8 w 80"/>
                <a:gd name="T53" fmla="*/ 24 h 96"/>
                <a:gd name="T54" fmla="*/ 8 w 80"/>
                <a:gd name="T55" fmla="*/ 56 h 96"/>
                <a:gd name="T56" fmla="*/ 8 w 80"/>
                <a:gd name="T57" fmla="*/ 16 h 96"/>
                <a:gd name="T58" fmla="*/ 72 w 80"/>
                <a:gd name="T59" fmla="*/ 16 h 96"/>
                <a:gd name="T60" fmla="*/ 72 w 80"/>
                <a:gd name="T61" fmla="*/ 8 h 96"/>
                <a:gd name="T62" fmla="*/ 8 w 80"/>
                <a:gd name="T63" fmla="*/ 8 h 96"/>
                <a:gd name="T64" fmla="*/ 8 w 80"/>
                <a:gd name="T65"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96">
                  <a:moveTo>
                    <a:pt x="76" y="96"/>
                  </a:moveTo>
                  <a:cubicBezTo>
                    <a:pt x="40" y="96"/>
                    <a:pt x="40" y="96"/>
                    <a:pt x="40" y="96"/>
                  </a:cubicBezTo>
                  <a:cubicBezTo>
                    <a:pt x="38" y="96"/>
                    <a:pt x="36" y="94"/>
                    <a:pt x="36" y="92"/>
                  </a:cubicBezTo>
                  <a:cubicBezTo>
                    <a:pt x="36" y="76"/>
                    <a:pt x="36" y="76"/>
                    <a:pt x="36" y="76"/>
                  </a:cubicBezTo>
                  <a:cubicBezTo>
                    <a:pt x="36" y="74"/>
                    <a:pt x="38" y="72"/>
                    <a:pt x="40" y="72"/>
                  </a:cubicBezTo>
                  <a:cubicBezTo>
                    <a:pt x="76" y="72"/>
                    <a:pt x="76" y="72"/>
                    <a:pt x="76" y="72"/>
                  </a:cubicBezTo>
                  <a:cubicBezTo>
                    <a:pt x="78" y="72"/>
                    <a:pt x="80" y="74"/>
                    <a:pt x="80" y="76"/>
                  </a:cubicBezTo>
                  <a:cubicBezTo>
                    <a:pt x="80" y="92"/>
                    <a:pt x="80" y="92"/>
                    <a:pt x="80" y="92"/>
                  </a:cubicBezTo>
                  <a:cubicBezTo>
                    <a:pt x="80" y="94"/>
                    <a:pt x="78" y="96"/>
                    <a:pt x="76" y="96"/>
                  </a:cubicBezTo>
                  <a:close/>
                  <a:moveTo>
                    <a:pt x="44" y="88"/>
                  </a:moveTo>
                  <a:cubicBezTo>
                    <a:pt x="72" y="88"/>
                    <a:pt x="72" y="88"/>
                    <a:pt x="72" y="88"/>
                  </a:cubicBezTo>
                  <a:cubicBezTo>
                    <a:pt x="72" y="80"/>
                    <a:pt x="72" y="80"/>
                    <a:pt x="72" y="80"/>
                  </a:cubicBezTo>
                  <a:cubicBezTo>
                    <a:pt x="44" y="80"/>
                    <a:pt x="44" y="80"/>
                    <a:pt x="44" y="80"/>
                  </a:cubicBezTo>
                  <a:lnTo>
                    <a:pt x="44" y="88"/>
                  </a:lnTo>
                  <a:close/>
                  <a:moveTo>
                    <a:pt x="76" y="64"/>
                  </a:moveTo>
                  <a:cubicBezTo>
                    <a:pt x="4" y="64"/>
                    <a:pt x="4" y="64"/>
                    <a:pt x="4" y="64"/>
                  </a:cubicBezTo>
                  <a:cubicBezTo>
                    <a:pt x="2" y="64"/>
                    <a:pt x="0" y="62"/>
                    <a:pt x="0" y="60"/>
                  </a:cubicBezTo>
                  <a:cubicBezTo>
                    <a:pt x="0" y="4"/>
                    <a:pt x="0" y="4"/>
                    <a:pt x="0" y="4"/>
                  </a:cubicBezTo>
                  <a:cubicBezTo>
                    <a:pt x="0" y="2"/>
                    <a:pt x="2" y="0"/>
                    <a:pt x="4" y="0"/>
                  </a:cubicBezTo>
                  <a:cubicBezTo>
                    <a:pt x="76" y="0"/>
                    <a:pt x="76" y="0"/>
                    <a:pt x="76" y="0"/>
                  </a:cubicBezTo>
                  <a:cubicBezTo>
                    <a:pt x="78" y="0"/>
                    <a:pt x="80" y="2"/>
                    <a:pt x="80" y="4"/>
                  </a:cubicBezTo>
                  <a:cubicBezTo>
                    <a:pt x="80" y="60"/>
                    <a:pt x="80" y="60"/>
                    <a:pt x="80" y="60"/>
                  </a:cubicBezTo>
                  <a:cubicBezTo>
                    <a:pt x="80" y="62"/>
                    <a:pt x="78" y="64"/>
                    <a:pt x="76" y="64"/>
                  </a:cubicBezTo>
                  <a:close/>
                  <a:moveTo>
                    <a:pt x="8" y="56"/>
                  </a:moveTo>
                  <a:cubicBezTo>
                    <a:pt x="72" y="56"/>
                    <a:pt x="72" y="56"/>
                    <a:pt x="72" y="56"/>
                  </a:cubicBezTo>
                  <a:cubicBezTo>
                    <a:pt x="72" y="24"/>
                    <a:pt x="72" y="24"/>
                    <a:pt x="72" y="24"/>
                  </a:cubicBezTo>
                  <a:cubicBezTo>
                    <a:pt x="8" y="24"/>
                    <a:pt x="8" y="24"/>
                    <a:pt x="8" y="24"/>
                  </a:cubicBezTo>
                  <a:lnTo>
                    <a:pt x="8" y="56"/>
                  </a:lnTo>
                  <a:close/>
                  <a:moveTo>
                    <a:pt x="8" y="16"/>
                  </a:moveTo>
                  <a:cubicBezTo>
                    <a:pt x="72" y="16"/>
                    <a:pt x="72" y="16"/>
                    <a:pt x="72" y="16"/>
                  </a:cubicBezTo>
                  <a:cubicBezTo>
                    <a:pt x="72" y="8"/>
                    <a:pt x="72" y="8"/>
                    <a:pt x="72" y="8"/>
                  </a:cubicBezTo>
                  <a:cubicBezTo>
                    <a:pt x="8" y="8"/>
                    <a:pt x="8" y="8"/>
                    <a:pt x="8" y="8"/>
                  </a:cubicBezTo>
                  <a:lnTo>
                    <a:pt x="8" y="1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99" name="Group 98"/>
          <p:cNvGrpSpPr/>
          <p:nvPr userDrawn="1"/>
        </p:nvGrpSpPr>
        <p:grpSpPr>
          <a:xfrm>
            <a:off x="10472760" y="1522001"/>
            <a:ext cx="1196416" cy="323982"/>
            <a:chOff x="10472760" y="1547526"/>
            <a:chExt cx="1196416" cy="323982"/>
          </a:xfrm>
        </p:grpSpPr>
        <p:sp>
          <p:nvSpPr>
            <p:cNvPr id="10" name="Rectangle 9"/>
            <p:cNvSpPr/>
            <p:nvPr userDrawn="1"/>
          </p:nvSpPr>
          <p:spPr>
            <a:xfrm>
              <a:off x="10922177" y="1601794"/>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smtClean="0">
                  <a:solidFill>
                    <a:schemeClr val="bg1"/>
                  </a:solidFill>
                </a:rPr>
                <a:t>Section</a:t>
              </a:r>
              <a:r>
                <a:rPr lang="en-GB" sz="1400" baseline="0" dirty="0" smtClean="0">
                  <a:solidFill>
                    <a:schemeClr val="bg1"/>
                  </a:solidFill>
                </a:rPr>
                <a:t> 3</a:t>
              </a:r>
              <a:endParaRPr lang="en-GB" sz="1400" dirty="0">
                <a:solidFill>
                  <a:schemeClr val="bg1"/>
                </a:solidFill>
              </a:endParaRPr>
            </a:p>
          </p:txBody>
        </p:sp>
        <p:grpSp>
          <p:nvGrpSpPr>
            <p:cNvPr id="70" name="Group 13"/>
            <p:cNvGrpSpPr>
              <a:grpSpLocks noChangeAspect="1"/>
            </p:cNvGrpSpPr>
            <p:nvPr userDrawn="1"/>
          </p:nvGrpSpPr>
          <p:grpSpPr bwMode="auto">
            <a:xfrm>
              <a:off x="10472760" y="1547526"/>
              <a:ext cx="268942" cy="323982"/>
              <a:chOff x="292" y="2131"/>
              <a:chExt cx="215" cy="259"/>
            </a:xfrm>
            <a:solidFill>
              <a:schemeClr val="bg1"/>
            </a:solidFill>
          </p:grpSpPr>
          <p:sp>
            <p:nvSpPr>
              <p:cNvPr id="71"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4" name="Group 23"/>
          <p:cNvGrpSpPr/>
          <p:nvPr userDrawn="1"/>
        </p:nvGrpSpPr>
        <p:grpSpPr>
          <a:xfrm>
            <a:off x="10473385" y="3615583"/>
            <a:ext cx="1195791" cy="317727"/>
            <a:chOff x="10473385" y="3630879"/>
            <a:chExt cx="1195791" cy="317727"/>
          </a:xfrm>
        </p:grpSpPr>
        <p:sp>
          <p:nvSpPr>
            <p:cNvPr id="14" name="Rectangle 13"/>
            <p:cNvSpPr/>
            <p:nvPr userDrawn="1"/>
          </p:nvSpPr>
          <p:spPr>
            <a:xfrm>
              <a:off x="10922177" y="3665176"/>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smtClean="0">
                  <a:solidFill>
                    <a:schemeClr val="accent2"/>
                  </a:solidFill>
                </a:rPr>
                <a:t>Section</a:t>
              </a:r>
              <a:r>
                <a:rPr lang="en-GB" sz="1400" baseline="0" dirty="0" smtClean="0">
                  <a:solidFill>
                    <a:schemeClr val="accent2"/>
                  </a:solidFill>
                </a:rPr>
                <a:t> 6</a:t>
              </a:r>
              <a:endParaRPr lang="en-GB" sz="1400" dirty="0">
                <a:solidFill>
                  <a:schemeClr val="accent2"/>
                </a:solidFill>
              </a:endParaRPr>
            </a:p>
          </p:txBody>
        </p:sp>
        <p:grpSp>
          <p:nvGrpSpPr>
            <p:cNvPr id="73" name="Group 26"/>
            <p:cNvGrpSpPr>
              <a:grpSpLocks noChangeAspect="1"/>
            </p:cNvGrpSpPr>
            <p:nvPr userDrawn="1"/>
          </p:nvGrpSpPr>
          <p:grpSpPr bwMode="auto">
            <a:xfrm>
              <a:off x="10473385" y="3630879"/>
              <a:ext cx="267692" cy="317727"/>
              <a:chOff x="3091" y="1784"/>
              <a:chExt cx="214" cy="254"/>
            </a:xfrm>
            <a:solidFill>
              <a:schemeClr val="accent2"/>
            </a:solidFill>
          </p:grpSpPr>
          <p:sp>
            <p:nvSpPr>
              <p:cNvPr id="74" name="Freeform 27"/>
              <p:cNvSpPr>
                <a:spLocks noEditPoints="1"/>
              </p:cNvSpPr>
              <p:nvPr/>
            </p:nvSpPr>
            <p:spPr bwMode="auto">
              <a:xfrm>
                <a:off x="3091" y="1784"/>
                <a:ext cx="214" cy="254"/>
              </a:xfrm>
              <a:custGeom>
                <a:avLst/>
                <a:gdLst>
                  <a:gd name="T0" fmla="*/ 76 w 80"/>
                  <a:gd name="T1" fmla="*/ 96 h 96"/>
                  <a:gd name="T2" fmla="*/ 4 w 80"/>
                  <a:gd name="T3" fmla="*/ 96 h 96"/>
                  <a:gd name="T4" fmla="*/ 0 w 80"/>
                  <a:gd name="T5" fmla="*/ 92 h 96"/>
                  <a:gd name="T6" fmla="*/ 0 w 80"/>
                  <a:gd name="T7" fmla="*/ 4 h 96"/>
                  <a:gd name="T8" fmla="*/ 4 w 80"/>
                  <a:gd name="T9" fmla="*/ 0 h 96"/>
                  <a:gd name="T10" fmla="*/ 76 w 80"/>
                  <a:gd name="T11" fmla="*/ 0 h 96"/>
                  <a:gd name="T12" fmla="*/ 80 w 80"/>
                  <a:gd name="T13" fmla="*/ 4 h 96"/>
                  <a:gd name="T14" fmla="*/ 80 w 80"/>
                  <a:gd name="T15" fmla="*/ 92 h 96"/>
                  <a:gd name="T16" fmla="*/ 76 w 80"/>
                  <a:gd name="T17" fmla="*/ 96 h 96"/>
                  <a:gd name="T18" fmla="*/ 8 w 80"/>
                  <a:gd name="T19" fmla="*/ 88 h 96"/>
                  <a:gd name="T20" fmla="*/ 72 w 80"/>
                  <a:gd name="T21" fmla="*/ 88 h 96"/>
                  <a:gd name="T22" fmla="*/ 72 w 80"/>
                  <a:gd name="T23" fmla="*/ 8 h 96"/>
                  <a:gd name="T24" fmla="*/ 8 w 80"/>
                  <a:gd name="T25" fmla="*/ 8 h 96"/>
                  <a:gd name="T26" fmla="*/ 8 w 80"/>
                  <a:gd name="T27" fmla="*/ 88 h 96"/>
                  <a:gd name="T28" fmla="*/ 40 w 80"/>
                  <a:gd name="T29" fmla="*/ 80 h 96"/>
                  <a:gd name="T30" fmla="*/ 36 w 80"/>
                  <a:gd name="T31" fmla="*/ 76 h 96"/>
                  <a:gd name="T32" fmla="*/ 36 w 80"/>
                  <a:gd name="T33" fmla="*/ 20 h 96"/>
                  <a:gd name="T34" fmla="*/ 40 w 80"/>
                  <a:gd name="T35" fmla="*/ 16 h 96"/>
                  <a:gd name="T36" fmla="*/ 44 w 80"/>
                  <a:gd name="T37" fmla="*/ 20 h 96"/>
                  <a:gd name="T38" fmla="*/ 44 w 80"/>
                  <a:gd name="T39" fmla="*/ 76 h 96"/>
                  <a:gd name="T40" fmla="*/ 40 w 80"/>
                  <a:gd name="T41" fmla="*/ 8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96">
                    <a:moveTo>
                      <a:pt x="76" y="96"/>
                    </a:moveTo>
                    <a:cubicBezTo>
                      <a:pt x="4" y="96"/>
                      <a:pt x="4" y="96"/>
                      <a:pt x="4" y="96"/>
                    </a:cubicBezTo>
                    <a:cubicBezTo>
                      <a:pt x="2" y="96"/>
                      <a:pt x="0" y="94"/>
                      <a:pt x="0" y="92"/>
                    </a:cubicBezTo>
                    <a:cubicBezTo>
                      <a:pt x="0" y="4"/>
                      <a:pt x="0" y="4"/>
                      <a:pt x="0" y="4"/>
                    </a:cubicBezTo>
                    <a:cubicBezTo>
                      <a:pt x="0" y="2"/>
                      <a:pt x="2" y="0"/>
                      <a:pt x="4" y="0"/>
                    </a:cubicBezTo>
                    <a:cubicBezTo>
                      <a:pt x="76" y="0"/>
                      <a:pt x="76" y="0"/>
                      <a:pt x="76" y="0"/>
                    </a:cubicBezTo>
                    <a:cubicBezTo>
                      <a:pt x="78" y="0"/>
                      <a:pt x="80" y="2"/>
                      <a:pt x="80" y="4"/>
                    </a:cubicBezTo>
                    <a:cubicBezTo>
                      <a:pt x="80" y="92"/>
                      <a:pt x="80" y="92"/>
                      <a:pt x="80" y="92"/>
                    </a:cubicBezTo>
                    <a:cubicBezTo>
                      <a:pt x="80" y="94"/>
                      <a:pt x="78" y="96"/>
                      <a:pt x="76" y="96"/>
                    </a:cubicBezTo>
                    <a:close/>
                    <a:moveTo>
                      <a:pt x="8" y="88"/>
                    </a:moveTo>
                    <a:cubicBezTo>
                      <a:pt x="72" y="88"/>
                      <a:pt x="72" y="88"/>
                      <a:pt x="72" y="88"/>
                    </a:cubicBezTo>
                    <a:cubicBezTo>
                      <a:pt x="72" y="8"/>
                      <a:pt x="72" y="8"/>
                      <a:pt x="72" y="8"/>
                    </a:cubicBezTo>
                    <a:cubicBezTo>
                      <a:pt x="8" y="8"/>
                      <a:pt x="8" y="8"/>
                      <a:pt x="8" y="8"/>
                    </a:cubicBezTo>
                    <a:lnTo>
                      <a:pt x="8" y="88"/>
                    </a:lnTo>
                    <a:close/>
                    <a:moveTo>
                      <a:pt x="40" y="80"/>
                    </a:moveTo>
                    <a:cubicBezTo>
                      <a:pt x="38" y="80"/>
                      <a:pt x="36" y="78"/>
                      <a:pt x="36" y="76"/>
                    </a:cubicBezTo>
                    <a:cubicBezTo>
                      <a:pt x="36" y="20"/>
                      <a:pt x="36" y="20"/>
                      <a:pt x="36" y="20"/>
                    </a:cubicBezTo>
                    <a:cubicBezTo>
                      <a:pt x="36" y="18"/>
                      <a:pt x="38" y="16"/>
                      <a:pt x="40" y="16"/>
                    </a:cubicBezTo>
                    <a:cubicBezTo>
                      <a:pt x="42" y="16"/>
                      <a:pt x="44" y="18"/>
                      <a:pt x="44" y="20"/>
                    </a:cubicBezTo>
                    <a:cubicBezTo>
                      <a:pt x="44" y="76"/>
                      <a:pt x="44" y="76"/>
                      <a:pt x="44" y="76"/>
                    </a:cubicBezTo>
                    <a:cubicBezTo>
                      <a:pt x="44" y="78"/>
                      <a:pt x="42"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28"/>
              <p:cNvSpPr>
                <a:spLocks/>
              </p:cNvSpPr>
              <p:nvPr/>
            </p:nvSpPr>
            <p:spPr bwMode="auto">
              <a:xfrm>
                <a:off x="3145" y="1837"/>
                <a:ext cx="101" cy="138"/>
              </a:xfrm>
              <a:custGeom>
                <a:avLst/>
                <a:gdLst>
                  <a:gd name="T0" fmla="*/ 19 w 38"/>
                  <a:gd name="T1" fmla="*/ 52 h 52"/>
                  <a:gd name="T2" fmla="*/ 3 w 38"/>
                  <a:gd name="T3" fmla="*/ 49 h 52"/>
                  <a:gd name="T4" fmla="*/ 1 w 38"/>
                  <a:gd name="T5" fmla="*/ 43 h 52"/>
                  <a:gd name="T6" fmla="*/ 6 w 38"/>
                  <a:gd name="T7" fmla="*/ 41 h 52"/>
                  <a:gd name="T8" fmla="*/ 27 w 38"/>
                  <a:gd name="T9" fmla="*/ 42 h 52"/>
                  <a:gd name="T10" fmla="*/ 29 w 38"/>
                  <a:gd name="T11" fmla="*/ 37 h 52"/>
                  <a:gd name="T12" fmla="*/ 19 w 38"/>
                  <a:gd name="T13" fmla="*/ 31 h 52"/>
                  <a:gd name="T14" fmla="*/ 3 w 38"/>
                  <a:gd name="T15" fmla="*/ 15 h 52"/>
                  <a:gd name="T16" fmla="*/ 9 w 38"/>
                  <a:gd name="T17" fmla="*/ 4 h 52"/>
                  <a:gd name="T18" fmla="*/ 36 w 38"/>
                  <a:gd name="T19" fmla="*/ 5 h 52"/>
                  <a:gd name="T20" fmla="*/ 37 w 38"/>
                  <a:gd name="T21" fmla="*/ 11 h 52"/>
                  <a:gd name="T22" fmla="*/ 32 w 38"/>
                  <a:gd name="T23" fmla="*/ 12 h 52"/>
                  <a:gd name="T24" fmla="*/ 13 w 38"/>
                  <a:gd name="T25" fmla="*/ 11 h 52"/>
                  <a:gd name="T26" fmla="*/ 11 w 38"/>
                  <a:gd name="T27" fmla="*/ 15 h 52"/>
                  <a:gd name="T28" fmla="*/ 22 w 38"/>
                  <a:gd name="T29" fmla="*/ 23 h 52"/>
                  <a:gd name="T30" fmla="*/ 37 w 38"/>
                  <a:gd name="T31" fmla="*/ 37 h 52"/>
                  <a:gd name="T32" fmla="*/ 31 w 38"/>
                  <a:gd name="T33" fmla="*/ 49 h 52"/>
                  <a:gd name="T34" fmla="*/ 19 w 38"/>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2">
                    <a:moveTo>
                      <a:pt x="19" y="52"/>
                    </a:moveTo>
                    <a:cubicBezTo>
                      <a:pt x="14" y="52"/>
                      <a:pt x="8" y="50"/>
                      <a:pt x="3" y="49"/>
                    </a:cubicBezTo>
                    <a:cubicBezTo>
                      <a:pt x="1" y="48"/>
                      <a:pt x="0" y="45"/>
                      <a:pt x="1" y="43"/>
                    </a:cubicBezTo>
                    <a:cubicBezTo>
                      <a:pt x="1" y="41"/>
                      <a:pt x="4" y="40"/>
                      <a:pt x="6" y="41"/>
                    </a:cubicBezTo>
                    <a:cubicBezTo>
                      <a:pt x="14" y="44"/>
                      <a:pt x="23" y="45"/>
                      <a:pt x="27" y="42"/>
                    </a:cubicBezTo>
                    <a:cubicBezTo>
                      <a:pt x="28" y="41"/>
                      <a:pt x="29" y="40"/>
                      <a:pt x="29" y="37"/>
                    </a:cubicBezTo>
                    <a:cubicBezTo>
                      <a:pt x="29" y="34"/>
                      <a:pt x="26" y="33"/>
                      <a:pt x="19" y="31"/>
                    </a:cubicBezTo>
                    <a:cubicBezTo>
                      <a:pt x="12" y="28"/>
                      <a:pt x="3" y="25"/>
                      <a:pt x="3" y="15"/>
                    </a:cubicBezTo>
                    <a:cubicBezTo>
                      <a:pt x="3" y="10"/>
                      <a:pt x="5" y="6"/>
                      <a:pt x="9" y="4"/>
                    </a:cubicBezTo>
                    <a:cubicBezTo>
                      <a:pt x="17" y="0"/>
                      <a:pt x="30" y="2"/>
                      <a:pt x="36" y="5"/>
                    </a:cubicBezTo>
                    <a:cubicBezTo>
                      <a:pt x="37" y="6"/>
                      <a:pt x="38" y="9"/>
                      <a:pt x="37" y="11"/>
                    </a:cubicBezTo>
                    <a:cubicBezTo>
                      <a:pt x="36" y="13"/>
                      <a:pt x="34" y="13"/>
                      <a:pt x="32" y="12"/>
                    </a:cubicBezTo>
                    <a:cubicBezTo>
                      <a:pt x="28" y="10"/>
                      <a:pt x="18" y="8"/>
                      <a:pt x="13" y="11"/>
                    </a:cubicBezTo>
                    <a:cubicBezTo>
                      <a:pt x="11" y="12"/>
                      <a:pt x="11" y="13"/>
                      <a:pt x="11" y="15"/>
                    </a:cubicBezTo>
                    <a:cubicBezTo>
                      <a:pt x="11" y="19"/>
                      <a:pt x="14" y="21"/>
                      <a:pt x="22" y="23"/>
                    </a:cubicBezTo>
                    <a:cubicBezTo>
                      <a:pt x="28" y="25"/>
                      <a:pt x="37" y="28"/>
                      <a:pt x="37" y="37"/>
                    </a:cubicBezTo>
                    <a:cubicBezTo>
                      <a:pt x="37" y="43"/>
                      <a:pt x="34" y="47"/>
                      <a:pt x="31" y="49"/>
                    </a:cubicBezTo>
                    <a:cubicBezTo>
                      <a:pt x="28" y="51"/>
                      <a:pt x="24" y="52"/>
                      <a:pt x="1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01" name="Group 100"/>
          <p:cNvGrpSpPr/>
          <p:nvPr userDrawn="1"/>
        </p:nvGrpSpPr>
        <p:grpSpPr>
          <a:xfrm>
            <a:off x="10447117" y="187574"/>
            <a:ext cx="1222059" cy="292709"/>
            <a:chOff x="10447117" y="187574"/>
            <a:chExt cx="1222059" cy="292709"/>
          </a:xfrm>
        </p:grpSpPr>
        <p:sp>
          <p:nvSpPr>
            <p:cNvPr id="8" name="Rectangle 7"/>
            <p:cNvSpPr/>
            <p:nvPr userDrawn="1"/>
          </p:nvSpPr>
          <p:spPr>
            <a:xfrm>
              <a:off x="10922177" y="226205"/>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smtClean="0">
                  <a:solidFill>
                    <a:schemeClr val="accent2"/>
                  </a:solidFill>
                </a:rPr>
                <a:t>Section</a:t>
              </a:r>
              <a:r>
                <a:rPr lang="en-GB" sz="1400" baseline="0" dirty="0" smtClean="0">
                  <a:solidFill>
                    <a:schemeClr val="accent2"/>
                  </a:solidFill>
                </a:rPr>
                <a:t> 1</a:t>
              </a:r>
              <a:endParaRPr lang="en-GB" sz="1400" dirty="0">
                <a:solidFill>
                  <a:schemeClr val="accent2"/>
                </a:solidFill>
              </a:endParaRPr>
            </a:p>
          </p:txBody>
        </p:sp>
        <p:grpSp>
          <p:nvGrpSpPr>
            <p:cNvPr id="76" name="Group 4"/>
            <p:cNvGrpSpPr>
              <a:grpSpLocks noChangeAspect="1"/>
            </p:cNvGrpSpPr>
            <p:nvPr userDrawn="1"/>
          </p:nvGrpSpPr>
          <p:grpSpPr bwMode="auto">
            <a:xfrm>
              <a:off x="10447117" y="187574"/>
              <a:ext cx="320229" cy="292709"/>
              <a:chOff x="293" y="695"/>
              <a:chExt cx="256" cy="234"/>
            </a:xfrm>
            <a:solidFill>
              <a:schemeClr val="accent2"/>
            </a:solidFill>
          </p:grpSpPr>
          <p:sp>
            <p:nvSpPr>
              <p:cNvPr id="77"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98" name="Group 97"/>
          <p:cNvGrpSpPr/>
          <p:nvPr userDrawn="1"/>
        </p:nvGrpSpPr>
        <p:grpSpPr>
          <a:xfrm>
            <a:off x="10455248" y="2232371"/>
            <a:ext cx="1213928" cy="292709"/>
            <a:chOff x="10455248" y="2259847"/>
            <a:chExt cx="1213928" cy="292709"/>
          </a:xfrm>
        </p:grpSpPr>
        <p:sp>
          <p:nvSpPr>
            <p:cNvPr id="11" name="Rectangle 10"/>
            <p:cNvSpPr/>
            <p:nvPr userDrawn="1"/>
          </p:nvSpPr>
          <p:spPr>
            <a:xfrm>
              <a:off x="10922177" y="2289588"/>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smtClean="0">
                  <a:solidFill>
                    <a:schemeClr val="accent2"/>
                  </a:solidFill>
                </a:rPr>
                <a:t>Section</a:t>
              </a:r>
              <a:r>
                <a:rPr lang="en-GB" sz="1400" baseline="0" dirty="0" smtClean="0">
                  <a:solidFill>
                    <a:schemeClr val="accent2"/>
                  </a:solidFill>
                </a:rPr>
                <a:t> 4</a:t>
              </a:r>
              <a:endParaRPr lang="en-GB" sz="1400" dirty="0">
                <a:solidFill>
                  <a:schemeClr val="accent2"/>
                </a:solidFill>
              </a:endParaRPr>
            </a:p>
          </p:txBody>
        </p:sp>
        <p:sp>
          <p:nvSpPr>
            <p:cNvPr id="79" name="Freeform 19"/>
            <p:cNvSpPr>
              <a:spLocks noEditPoints="1"/>
            </p:cNvSpPr>
            <p:nvPr userDrawn="1"/>
          </p:nvSpPr>
          <p:spPr bwMode="auto">
            <a:xfrm>
              <a:off x="10455248" y="2259847"/>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8" name="Group 17"/>
          <p:cNvGrpSpPr/>
          <p:nvPr userDrawn="1"/>
        </p:nvGrpSpPr>
        <p:grpSpPr>
          <a:xfrm>
            <a:off x="10460877" y="4998795"/>
            <a:ext cx="1208299" cy="268942"/>
            <a:chOff x="10460877" y="4991891"/>
            <a:chExt cx="1208299" cy="268942"/>
          </a:xfrm>
        </p:grpSpPr>
        <p:sp>
          <p:nvSpPr>
            <p:cNvPr id="21" name="Rectangle 20"/>
            <p:cNvSpPr/>
            <p:nvPr userDrawn="1"/>
          </p:nvSpPr>
          <p:spPr>
            <a:xfrm>
              <a:off x="10922177" y="5040765"/>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smtClean="0">
                  <a:solidFill>
                    <a:schemeClr val="accent2"/>
                  </a:solidFill>
                </a:rPr>
                <a:t>Section </a:t>
              </a:r>
              <a:r>
                <a:rPr lang="en-GB" sz="1400" baseline="0" dirty="0" smtClean="0">
                  <a:solidFill>
                    <a:schemeClr val="accent2"/>
                  </a:solidFill>
                </a:rPr>
                <a:t>8</a:t>
              </a:r>
              <a:endParaRPr lang="en-GB" sz="1400" dirty="0">
                <a:solidFill>
                  <a:schemeClr val="accent2"/>
                </a:solidFill>
              </a:endParaRPr>
            </a:p>
          </p:txBody>
        </p:sp>
        <p:sp>
          <p:nvSpPr>
            <p:cNvPr id="80" name="Freeform 10"/>
            <p:cNvSpPr>
              <a:spLocks noEditPoints="1"/>
            </p:cNvSpPr>
            <p:nvPr userDrawn="1"/>
          </p:nvSpPr>
          <p:spPr bwMode="auto">
            <a:xfrm>
              <a:off x="10460877" y="4991891"/>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7" name="Group 16"/>
          <p:cNvGrpSpPr/>
          <p:nvPr userDrawn="1"/>
        </p:nvGrpSpPr>
        <p:grpSpPr>
          <a:xfrm>
            <a:off x="10472760" y="5654125"/>
            <a:ext cx="1196416" cy="323982"/>
            <a:chOff x="10472760" y="5652166"/>
            <a:chExt cx="1196416" cy="323982"/>
          </a:xfrm>
        </p:grpSpPr>
        <p:sp>
          <p:nvSpPr>
            <p:cNvPr id="22" name="Rectangle 21"/>
            <p:cNvSpPr/>
            <p:nvPr userDrawn="1"/>
          </p:nvSpPr>
          <p:spPr>
            <a:xfrm>
              <a:off x="10922177" y="5728559"/>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smtClean="0">
                  <a:solidFill>
                    <a:schemeClr val="accent2"/>
                  </a:solidFill>
                </a:rPr>
                <a:t>Section</a:t>
              </a:r>
              <a:r>
                <a:rPr lang="en-GB" sz="1400" baseline="0" dirty="0" smtClean="0">
                  <a:solidFill>
                    <a:schemeClr val="accent2"/>
                  </a:solidFill>
                </a:rPr>
                <a:t> 9</a:t>
              </a:r>
              <a:endParaRPr lang="en-GB" sz="1400" dirty="0">
                <a:solidFill>
                  <a:schemeClr val="accent2"/>
                </a:solidFill>
              </a:endParaRPr>
            </a:p>
          </p:txBody>
        </p:sp>
        <p:grpSp>
          <p:nvGrpSpPr>
            <p:cNvPr id="81" name="Group 13"/>
            <p:cNvGrpSpPr>
              <a:grpSpLocks noChangeAspect="1"/>
            </p:cNvGrpSpPr>
            <p:nvPr userDrawn="1"/>
          </p:nvGrpSpPr>
          <p:grpSpPr bwMode="auto">
            <a:xfrm>
              <a:off x="10472760" y="5652166"/>
              <a:ext cx="268942" cy="323982"/>
              <a:chOff x="292" y="2131"/>
              <a:chExt cx="215" cy="259"/>
            </a:xfrm>
            <a:solidFill>
              <a:schemeClr val="accent2"/>
            </a:solidFill>
          </p:grpSpPr>
          <p:sp>
            <p:nvSpPr>
              <p:cNvPr id="82"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9" name="Group 18"/>
          <p:cNvGrpSpPr/>
          <p:nvPr userDrawn="1"/>
        </p:nvGrpSpPr>
        <p:grpSpPr>
          <a:xfrm>
            <a:off x="10447117" y="4319698"/>
            <a:ext cx="1222059" cy="292709"/>
            <a:chOff x="10447117" y="4292214"/>
            <a:chExt cx="1222059" cy="292709"/>
          </a:xfrm>
        </p:grpSpPr>
        <p:sp>
          <p:nvSpPr>
            <p:cNvPr id="20" name="Rectangle 19"/>
            <p:cNvSpPr/>
            <p:nvPr userDrawn="1"/>
          </p:nvSpPr>
          <p:spPr>
            <a:xfrm>
              <a:off x="10922177" y="4352971"/>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smtClean="0">
                  <a:solidFill>
                    <a:schemeClr val="accent2"/>
                  </a:solidFill>
                </a:rPr>
                <a:t>Section</a:t>
              </a:r>
              <a:r>
                <a:rPr lang="en-GB" sz="1400" baseline="0" dirty="0" smtClean="0">
                  <a:solidFill>
                    <a:schemeClr val="accent2"/>
                  </a:solidFill>
                </a:rPr>
                <a:t> 7</a:t>
              </a:r>
              <a:endParaRPr lang="en-GB" sz="1400" dirty="0">
                <a:solidFill>
                  <a:schemeClr val="accent2"/>
                </a:solidFill>
              </a:endParaRPr>
            </a:p>
          </p:txBody>
        </p:sp>
        <p:grpSp>
          <p:nvGrpSpPr>
            <p:cNvPr id="84" name="Group 4"/>
            <p:cNvGrpSpPr>
              <a:grpSpLocks noChangeAspect="1"/>
            </p:cNvGrpSpPr>
            <p:nvPr userDrawn="1"/>
          </p:nvGrpSpPr>
          <p:grpSpPr bwMode="auto">
            <a:xfrm>
              <a:off x="10447117" y="4292214"/>
              <a:ext cx="320229" cy="292709"/>
              <a:chOff x="293" y="695"/>
              <a:chExt cx="256" cy="234"/>
            </a:xfrm>
            <a:solidFill>
              <a:schemeClr val="accent2"/>
            </a:solidFill>
          </p:grpSpPr>
          <p:sp>
            <p:nvSpPr>
              <p:cNvPr id="85"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6" name="Group 15"/>
          <p:cNvGrpSpPr/>
          <p:nvPr userDrawn="1"/>
        </p:nvGrpSpPr>
        <p:grpSpPr>
          <a:xfrm>
            <a:off x="10455248" y="6364487"/>
            <a:ext cx="1313315" cy="292709"/>
            <a:chOff x="10455248" y="6364487"/>
            <a:chExt cx="1313315" cy="292709"/>
          </a:xfrm>
        </p:grpSpPr>
        <p:sp>
          <p:nvSpPr>
            <p:cNvPr id="23" name="Rectangle 22"/>
            <p:cNvSpPr/>
            <p:nvPr userDrawn="1"/>
          </p:nvSpPr>
          <p:spPr>
            <a:xfrm>
              <a:off x="10922177" y="6416349"/>
              <a:ext cx="846386"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smtClean="0">
                  <a:solidFill>
                    <a:schemeClr val="accent2"/>
                  </a:solidFill>
                </a:rPr>
                <a:t>Section</a:t>
              </a:r>
              <a:r>
                <a:rPr lang="en-GB" sz="1400" baseline="0" dirty="0" smtClean="0">
                  <a:solidFill>
                    <a:schemeClr val="accent2"/>
                  </a:solidFill>
                </a:rPr>
                <a:t> 10</a:t>
              </a:r>
              <a:endParaRPr lang="en-GB" sz="1400" dirty="0">
                <a:solidFill>
                  <a:schemeClr val="accent2"/>
                </a:solidFill>
              </a:endParaRPr>
            </a:p>
          </p:txBody>
        </p:sp>
        <p:sp>
          <p:nvSpPr>
            <p:cNvPr id="87" name="Freeform 19"/>
            <p:cNvSpPr>
              <a:spLocks noEditPoints="1"/>
            </p:cNvSpPr>
            <p:nvPr userDrawn="1"/>
          </p:nvSpPr>
          <p:spPr bwMode="auto">
            <a:xfrm>
              <a:off x="10455248" y="6364487"/>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cxnSp>
        <p:nvCxnSpPr>
          <p:cNvPr id="89" name="Straight Connector 88"/>
          <p:cNvCxnSpPr/>
          <p:nvPr userDrawn="1"/>
        </p:nvCxnSpPr>
        <p:spPr>
          <a:xfrm>
            <a:off x="10033000" y="686270"/>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0" name="Straight Connector 89"/>
          <p:cNvCxnSpPr/>
          <p:nvPr userDrawn="1"/>
        </p:nvCxnSpPr>
        <p:spPr>
          <a:xfrm>
            <a:off x="10033000" y="1371952"/>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1" name="Straight Connector 90"/>
          <p:cNvCxnSpPr/>
          <p:nvPr userDrawn="1"/>
        </p:nvCxnSpPr>
        <p:spPr>
          <a:xfrm>
            <a:off x="10033000" y="2057634"/>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2" name="Straight Connector 91"/>
          <p:cNvCxnSpPr/>
          <p:nvPr userDrawn="1"/>
        </p:nvCxnSpPr>
        <p:spPr>
          <a:xfrm>
            <a:off x="10033000" y="2743316"/>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3" name="Straight Connector 92"/>
          <p:cNvCxnSpPr/>
          <p:nvPr userDrawn="1"/>
        </p:nvCxnSpPr>
        <p:spPr>
          <a:xfrm>
            <a:off x="10033000" y="3428998"/>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4" name="Straight Connector 93"/>
          <p:cNvCxnSpPr/>
          <p:nvPr userDrawn="1"/>
        </p:nvCxnSpPr>
        <p:spPr>
          <a:xfrm>
            <a:off x="10033000" y="4114680"/>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p:cNvCxnSpPr/>
          <p:nvPr userDrawn="1"/>
        </p:nvCxnSpPr>
        <p:spPr>
          <a:xfrm>
            <a:off x="10033000" y="4800362"/>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p:cNvCxnSpPr/>
          <p:nvPr userDrawn="1"/>
        </p:nvCxnSpPr>
        <p:spPr>
          <a:xfrm>
            <a:off x="10033000" y="5486044"/>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p:cNvCxnSpPr/>
          <p:nvPr userDrawn="1"/>
        </p:nvCxnSpPr>
        <p:spPr>
          <a:xfrm>
            <a:off x="10033000" y="6171726"/>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65" name="TextBox 64"/>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smtClean="0">
                <a:solidFill>
                  <a:srgbClr val="FF0000"/>
                </a:solidFill>
              </a:rPr>
              <a:t>These slides provide</a:t>
            </a:r>
            <a:r>
              <a:rPr lang="en-US" sz="1050" baseline="0" dirty="0" smtClean="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smtClean="0">
              <a:solidFill>
                <a:srgbClr val="FF0000"/>
              </a:solidFill>
            </a:endParaRPr>
          </a:p>
          <a:p>
            <a:pPr algn="l"/>
            <a:r>
              <a:rPr lang="en-US" sz="1050" baseline="0" dirty="0" smtClean="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1128431221"/>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Interactive right icons">
    <p:spTree>
      <p:nvGrpSpPr>
        <p:cNvPr id="1" name=""/>
        <p:cNvGrpSpPr/>
        <p:nvPr/>
      </p:nvGrpSpPr>
      <p:grpSpPr>
        <a:xfrm>
          <a:off x="0" y="0"/>
          <a:ext cx="0" cy="0"/>
          <a:chOff x="0" y="0"/>
          <a:chExt cx="0" cy="0"/>
        </a:xfrm>
      </p:grpSpPr>
      <p:sp>
        <p:nvSpPr>
          <p:cNvPr id="3" name="Rectangle 2"/>
          <p:cNvSpPr/>
          <p:nvPr userDrawn="1"/>
        </p:nvSpPr>
        <p:spPr>
          <a:xfrm>
            <a:off x="10998200" y="0"/>
            <a:ext cx="1193800" cy="114200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 name="Rectangle 38"/>
          <p:cNvSpPr/>
          <p:nvPr userDrawn="1"/>
        </p:nvSpPr>
        <p:spPr>
          <a:xfrm>
            <a:off x="10998200" y="1145870"/>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 name="Rectangle 39"/>
          <p:cNvSpPr/>
          <p:nvPr userDrawn="1"/>
        </p:nvSpPr>
        <p:spPr>
          <a:xfrm>
            <a:off x="10998200" y="2288863"/>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 name="Rectangle 40"/>
          <p:cNvSpPr/>
          <p:nvPr userDrawn="1"/>
        </p:nvSpPr>
        <p:spPr>
          <a:xfrm>
            <a:off x="10998200" y="3427839"/>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2" name="Rectangle 41"/>
          <p:cNvSpPr/>
          <p:nvPr userDrawn="1"/>
        </p:nvSpPr>
        <p:spPr>
          <a:xfrm>
            <a:off x="10998200" y="4570832"/>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 name="Rectangle 42"/>
          <p:cNvSpPr/>
          <p:nvPr userDrawn="1"/>
        </p:nvSpPr>
        <p:spPr>
          <a:xfrm>
            <a:off x="10998200" y="5715007"/>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userDrawn="1">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8080"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userDrawn="1">
            <p:ph type="title" hasCustomPrompt="1"/>
          </p:nvPr>
        </p:nvSpPr>
        <p:spPr>
          <a:xfrm>
            <a:off x="485776" y="361950"/>
            <a:ext cx="9509124"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userDrawn="1">
            <p:ph type="body" sz="half" idx="15" hasCustomPrompt="1"/>
          </p:nvPr>
        </p:nvSpPr>
        <p:spPr>
          <a:xfrm>
            <a:off x="6162923"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userDrawn="1">
            <p:ph type="body" sz="half" idx="2" hasCustomPrompt="1"/>
          </p:nvPr>
        </p:nvSpPr>
        <p:spPr>
          <a:xfrm>
            <a:off x="485776" y="806807"/>
            <a:ext cx="9509124"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18" name="Freeform 10"/>
          <p:cNvSpPr>
            <a:spLocks noEditPoints="1"/>
          </p:cNvSpPr>
          <p:nvPr userDrawn="1"/>
        </p:nvSpPr>
        <p:spPr bwMode="auto">
          <a:xfrm>
            <a:off x="11448746" y="1582895"/>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23"/>
          <p:cNvSpPr>
            <a:spLocks noEditPoints="1"/>
          </p:cNvSpPr>
          <p:nvPr userDrawn="1"/>
        </p:nvSpPr>
        <p:spPr bwMode="auto">
          <a:xfrm>
            <a:off x="11461255" y="4983465"/>
            <a:ext cx="267691" cy="317727"/>
          </a:xfrm>
          <a:custGeom>
            <a:avLst/>
            <a:gdLst>
              <a:gd name="T0" fmla="*/ 76 w 80"/>
              <a:gd name="T1" fmla="*/ 96 h 96"/>
              <a:gd name="T2" fmla="*/ 40 w 80"/>
              <a:gd name="T3" fmla="*/ 96 h 96"/>
              <a:gd name="T4" fmla="*/ 36 w 80"/>
              <a:gd name="T5" fmla="*/ 92 h 96"/>
              <a:gd name="T6" fmla="*/ 36 w 80"/>
              <a:gd name="T7" fmla="*/ 76 h 96"/>
              <a:gd name="T8" fmla="*/ 40 w 80"/>
              <a:gd name="T9" fmla="*/ 72 h 96"/>
              <a:gd name="T10" fmla="*/ 76 w 80"/>
              <a:gd name="T11" fmla="*/ 72 h 96"/>
              <a:gd name="T12" fmla="*/ 80 w 80"/>
              <a:gd name="T13" fmla="*/ 76 h 96"/>
              <a:gd name="T14" fmla="*/ 80 w 80"/>
              <a:gd name="T15" fmla="*/ 92 h 96"/>
              <a:gd name="T16" fmla="*/ 76 w 80"/>
              <a:gd name="T17" fmla="*/ 96 h 96"/>
              <a:gd name="T18" fmla="*/ 44 w 80"/>
              <a:gd name="T19" fmla="*/ 88 h 96"/>
              <a:gd name="T20" fmla="*/ 72 w 80"/>
              <a:gd name="T21" fmla="*/ 88 h 96"/>
              <a:gd name="T22" fmla="*/ 72 w 80"/>
              <a:gd name="T23" fmla="*/ 80 h 96"/>
              <a:gd name="T24" fmla="*/ 44 w 80"/>
              <a:gd name="T25" fmla="*/ 80 h 96"/>
              <a:gd name="T26" fmla="*/ 44 w 80"/>
              <a:gd name="T27" fmla="*/ 88 h 96"/>
              <a:gd name="T28" fmla="*/ 76 w 80"/>
              <a:gd name="T29" fmla="*/ 64 h 96"/>
              <a:gd name="T30" fmla="*/ 4 w 80"/>
              <a:gd name="T31" fmla="*/ 64 h 96"/>
              <a:gd name="T32" fmla="*/ 0 w 80"/>
              <a:gd name="T33" fmla="*/ 60 h 96"/>
              <a:gd name="T34" fmla="*/ 0 w 80"/>
              <a:gd name="T35" fmla="*/ 4 h 96"/>
              <a:gd name="T36" fmla="*/ 4 w 80"/>
              <a:gd name="T37" fmla="*/ 0 h 96"/>
              <a:gd name="T38" fmla="*/ 76 w 80"/>
              <a:gd name="T39" fmla="*/ 0 h 96"/>
              <a:gd name="T40" fmla="*/ 80 w 80"/>
              <a:gd name="T41" fmla="*/ 4 h 96"/>
              <a:gd name="T42" fmla="*/ 80 w 80"/>
              <a:gd name="T43" fmla="*/ 60 h 96"/>
              <a:gd name="T44" fmla="*/ 76 w 80"/>
              <a:gd name="T45" fmla="*/ 64 h 96"/>
              <a:gd name="T46" fmla="*/ 8 w 80"/>
              <a:gd name="T47" fmla="*/ 56 h 96"/>
              <a:gd name="T48" fmla="*/ 72 w 80"/>
              <a:gd name="T49" fmla="*/ 56 h 96"/>
              <a:gd name="T50" fmla="*/ 72 w 80"/>
              <a:gd name="T51" fmla="*/ 24 h 96"/>
              <a:gd name="T52" fmla="*/ 8 w 80"/>
              <a:gd name="T53" fmla="*/ 24 h 96"/>
              <a:gd name="T54" fmla="*/ 8 w 80"/>
              <a:gd name="T55" fmla="*/ 56 h 96"/>
              <a:gd name="T56" fmla="*/ 8 w 80"/>
              <a:gd name="T57" fmla="*/ 16 h 96"/>
              <a:gd name="T58" fmla="*/ 72 w 80"/>
              <a:gd name="T59" fmla="*/ 16 h 96"/>
              <a:gd name="T60" fmla="*/ 72 w 80"/>
              <a:gd name="T61" fmla="*/ 8 h 96"/>
              <a:gd name="T62" fmla="*/ 8 w 80"/>
              <a:gd name="T63" fmla="*/ 8 h 96"/>
              <a:gd name="T64" fmla="*/ 8 w 80"/>
              <a:gd name="T65"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96">
                <a:moveTo>
                  <a:pt x="76" y="96"/>
                </a:moveTo>
                <a:cubicBezTo>
                  <a:pt x="40" y="96"/>
                  <a:pt x="40" y="96"/>
                  <a:pt x="40" y="96"/>
                </a:cubicBezTo>
                <a:cubicBezTo>
                  <a:pt x="38" y="96"/>
                  <a:pt x="36" y="94"/>
                  <a:pt x="36" y="92"/>
                </a:cubicBezTo>
                <a:cubicBezTo>
                  <a:pt x="36" y="76"/>
                  <a:pt x="36" y="76"/>
                  <a:pt x="36" y="76"/>
                </a:cubicBezTo>
                <a:cubicBezTo>
                  <a:pt x="36" y="74"/>
                  <a:pt x="38" y="72"/>
                  <a:pt x="40" y="72"/>
                </a:cubicBezTo>
                <a:cubicBezTo>
                  <a:pt x="76" y="72"/>
                  <a:pt x="76" y="72"/>
                  <a:pt x="76" y="72"/>
                </a:cubicBezTo>
                <a:cubicBezTo>
                  <a:pt x="78" y="72"/>
                  <a:pt x="80" y="74"/>
                  <a:pt x="80" y="76"/>
                </a:cubicBezTo>
                <a:cubicBezTo>
                  <a:pt x="80" y="92"/>
                  <a:pt x="80" y="92"/>
                  <a:pt x="80" y="92"/>
                </a:cubicBezTo>
                <a:cubicBezTo>
                  <a:pt x="80" y="94"/>
                  <a:pt x="78" y="96"/>
                  <a:pt x="76" y="96"/>
                </a:cubicBezTo>
                <a:close/>
                <a:moveTo>
                  <a:pt x="44" y="88"/>
                </a:moveTo>
                <a:cubicBezTo>
                  <a:pt x="72" y="88"/>
                  <a:pt x="72" y="88"/>
                  <a:pt x="72" y="88"/>
                </a:cubicBezTo>
                <a:cubicBezTo>
                  <a:pt x="72" y="80"/>
                  <a:pt x="72" y="80"/>
                  <a:pt x="72" y="80"/>
                </a:cubicBezTo>
                <a:cubicBezTo>
                  <a:pt x="44" y="80"/>
                  <a:pt x="44" y="80"/>
                  <a:pt x="44" y="80"/>
                </a:cubicBezTo>
                <a:lnTo>
                  <a:pt x="44" y="88"/>
                </a:lnTo>
                <a:close/>
                <a:moveTo>
                  <a:pt x="76" y="64"/>
                </a:moveTo>
                <a:cubicBezTo>
                  <a:pt x="4" y="64"/>
                  <a:pt x="4" y="64"/>
                  <a:pt x="4" y="64"/>
                </a:cubicBezTo>
                <a:cubicBezTo>
                  <a:pt x="2" y="64"/>
                  <a:pt x="0" y="62"/>
                  <a:pt x="0" y="60"/>
                </a:cubicBezTo>
                <a:cubicBezTo>
                  <a:pt x="0" y="4"/>
                  <a:pt x="0" y="4"/>
                  <a:pt x="0" y="4"/>
                </a:cubicBezTo>
                <a:cubicBezTo>
                  <a:pt x="0" y="2"/>
                  <a:pt x="2" y="0"/>
                  <a:pt x="4" y="0"/>
                </a:cubicBezTo>
                <a:cubicBezTo>
                  <a:pt x="76" y="0"/>
                  <a:pt x="76" y="0"/>
                  <a:pt x="76" y="0"/>
                </a:cubicBezTo>
                <a:cubicBezTo>
                  <a:pt x="78" y="0"/>
                  <a:pt x="80" y="2"/>
                  <a:pt x="80" y="4"/>
                </a:cubicBezTo>
                <a:cubicBezTo>
                  <a:pt x="80" y="60"/>
                  <a:pt x="80" y="60"/>
                  <a:pt x="80" y="60"/>
                </a:cubicBezTo>
                <a:cubicBezTo>
                  <a:pt x="80" y="62"/>
                  <a:pt x="78" y="64"/>
                  <a:pt x="76" y="64"/>
                </a:cubicBezTo>
                <a:close/>
                <a:moveTo>
                  <a:pt x="8" y="56"/>
                </a:moveTo>
                <a:cubicBezTo>
                  <a:pt x="72" y="56"/>
                  <a:pt x="72" y="56"/>
                  <a:pt x="72" y="56"/>
                </a:cubicBezTo>
                <a:cubicBezTo>
                  <a:pt x="72" y="24"/>
                  <a:pt x="72" y="24"/>
                  <a:pt x="72" y="24"/>
                </a:cubicBezTo>
                <a:cubicBezTo>
                  <a:pt x="8" y="24"/>
                  <a:pt x="8" y="24"/>
                  <a:pt x="8" y="24"/>
                </a:cubicBezTo>
                <a:lnTo>
                  <a:pt x="8" y="56"/>
                </a:lnTo>
                <a:close/>
                <a:moveTo>
                  <a:pt x="8" y="16"/>
                </a:moveTo>
                <a:cubicBezTo>
                  <a:pt x="72" y="16"/>
                  <a:pt x="72" y="16"/>
                  <a:pt x="72" y="16"/>
                </a:cubicBezTo>
                <a:cubicBezTo>
                  <a:pt x="72" y="8"/>
                  <a:pt x="72" y="8"/>
                  <a:pt x="72" y="8"/>
                </a:cubicBezTo>
                <a:cubicBezTo>
                  <a:pt x="8" y="8"/>
                  <a:pt x="8" y="8"/>
                  <a:pt x="8" y="8"/>
                </a:cubicBezTo>
                <a:lnTo>
                  <a:pt x="8"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0" name="Group 13"/>
          <p:cNvGrpSpPr>
            <a:grpSpLocks noChangeAspect="1"/>
          </p:cNvGrpSpPr>
          <p:nvPr userDrawn="1"/>
        </p:nvGrpSpPr>
        <p:grpSpPr bwMode="auto">
          <a:xfrm>
            <a:off x="11460629" y="2698368"/>
            <a:ext cx="268942" cy="323982"/>
            <a:chOff x="292" y="2131"/>
            <a:chExt cx="215" cy="259"/>
          </a:xfrm>
          <a:solidFill>
            <a:schemeClr val="bg1"/>
          </a:solidFill>
        </p:grpSpPr>
        <p:sp>
          <p:nvSpPr>
            <p:cNvPr id="21"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3" name="Group 26"/>
          <p:cNvGrpSpPr>
            <a:grpSpLocks noChangeAspect="1"/>
          </p:cNvGrpSpPr>
          <p:nvPr userDrawn="1"/>
        </p:nvGrpSpPr>
        <p:grpSpPr bwMode="auto">
          <a:xfrm>
            <a:off x="11461254" y="6127640"/>
            <a:ext cx="267692" cy="317727"/>
            <a:chOff x="3091" y="1784"/>
            <a:chExt cx="214" cy="254"/>
          </a:xfrm>
          <a:solidFill>
            <a:schemeClr val="bg1"/>
          </a:solidFill>
        </p:grpSpPr>
        <p:sp>
          <p:nvSpPr>
            <p:cNvPr id="24" name="Freeform 27"/>
            <p:cNvSpPr>
              <a:spLocks noEditPoints="1"/>
            </p:cNvSpPr>
            <p:nvPr/>
          </p:nvSpPr>
          <p:spPr bwMode="auto">
            <a:xfrm>
              <a:off x="3091" y="1784"/>
              <a:ext cx="214" cy="254"/>
            </a:xfrm>
            <a:custGeom>
              <a:avLst/>
              <a:gdLst>
                <a:gd name="T0" fmla="*/ 76 w 80"/>
                <a:gd name="T1" fmla="*/ 96 h 96"/>
                <a:gd name="T2" fmla="*/ 4 w 80"/>
                <a:gd name="T3" fmla="*/ 96 h 96"/>
                <a:gd name="T4" fmla="*/ 0 w 80"/>
                <a:gd name="T5" fmla="*/ 92 h 96"/>
                <a:gd name="T6" fmla="*/ 0 w 80"/>
                <a:gd name="T7" fmla="*/ 4 h 96"/>
                <a:gd name="T8" fmla="*/ 4 w 80"/>
                <a:gd name="T9" fmla="*/ 0 h 96"/>
                <a:gd name="T10" fmla="*/ 76 w 80"/>
                <a:gd name="T11" fmla="*/ 0 h 96"/>
                <a:gd name="T12" fmla="*/ 80 w 80"/>
                <a:gd name="T13" fmla="*/ 4 h 96"/>
                <a:gd name="T14" fmla="*/ 80 w 80"/>
                <a:gd name="T15" fmla="*/ 92 h 96"/>
                <a:gd name="T16" fmla="*/ 76 w 80"/>
                <a:gd name="T17" fmla="*/ 96 h 96"/>
                <a:gd name="T18" fmla="*/ 8 w 80"/>
                <a:gd name="T19" fmla="*/ 88 h 96"/>
                <a:gd name="T20" fmla="*/ 72 w 80"/>
                <a:gd name="T21" fmla="*/ 88 h 96"/>
                <a:gd name="T22" fmla="*/ 72 w 80"/>
                <a:gd name="T23" fmla="*/ 8 h 96"/>
                <a:gd name="T24" fmla="*/ 8 w 80"/>
                <a:gd name="T25" fmla="*/ 8 h 96"/>
                <a:gd name="T26" fmla="*/ 8 w 80"/>
                <a:gd name="T27" fmla="*/ 88 h 96"/>
                <a:gd name="T28" fmla="*/ 40 w 80"/>
                <a:gd name="T29" fmla="*/ 80 h 96"/>
                <a:gd name="T30" fmla="*/ 36 w 80"/>
                <a:gd name="T31" fmla="*/ 76 h 96"/>
                <a:gd name="T32" fmla="*/ 36 w 80"/>
                <a:gd name="T33" fmla="*/ 20 h 96"/>
                <a:gd name="T34" fmla="*/ 40 w 80"/>
                <a:gd name="T35" fmla="*/ 16 h 96"/>
                <a:gd name="T36" fmla="*/ 44 w 80"/>
                <a:gd name="T37" fmla="*/ 20 h 96"/>
                <a:gd name="T38" fmla="*/ 44 w 80"/>
                <a:gd name="T39" fmla="*/ 76 h 96"/>
                <a:gd name="T40" fmla="*/ 40 w 80"/>
                <a:gd name="T41" fmla="*/ 8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96">
                  <a:moveTo>
                    <a:pt x="76" y="96"/>
                  </a:moveTo>
                  <a:cubicBezTo>
                    <a:pt x="4" y="96"/>
                    <a:pt x="4" y="96"/>
                    <a:pt x="4" y="96"/>
                  </a:cubicBezTo>
                  <a:cubicBezTo>
                    <a:pt x="2" y="96"/>
                    <a:pt x="0" y="94"/>
                    <a:pt x="0" y="92"/>
                  </a:cubicBezTo>
                  <a:cubicBezTo>
                    <a:pt x="0" y="4"/>
                    <a:pt x="0" y="4"/>
                    <a:pt x="0" y="4"/>
                  </a:cubicBezTo>
                  <a:cubicBezTo>
                    <a:pt x="0" y="2"/>
                    <a:pt x="2" y="0"/>
                    <a:pt x="4" y="0"/>
                  </a:cubicBezTo>
                  <a:cubicBezTo>
                    <a:pt x="76" y="0"/>
                    <a:pt x="76" y="0"/>
                    <a:pt x="76" y="0"/>
                  </a:cubicBezTo>
                  <a:cubicBezTo>
                    <a:pt x="78" y="0"/>
                    <a:pt x="80" y="2"/>
                    <a:pt x="80" y="4"/>
                  </a:cubicBezTo>
                  <a:cubicBezTo>
                    <a:pt x="80" y="92"/>
                    <a:pt x="80" y="92"/>
                    <a:pt x="80" y="92"/>
                  </a:cubicBezTo>
                  <a:cubicBezTo>
                    <a:pt x="80" y="94"/>
                    <a:pt x="78" y="96"/>
                    <a:pt x="76" y="96"/>
                  </a:cubicBezTo>
                  <a:close/>
                  <a:moveTo>
                    <a:pt x="8" y="88"/>
                  </a:moveTo>
                  <a:cubicBezTo>
                    <a:pt x="72" y="88"/>
                    <a:pt x="72" y="88"/>
                    <a:pt x="72" y="88"/>
                  </a:cubicBezTo>
                  <a:cubicBezTo>
                    <a:pt x="72" y="8"/>
                    <a:pt x="72" y="8"/>
                    <a:pt x="72" y="8"/>
                  </a:cubicBezTo>
                  <a:cubicBezTo>
                    <a:pt x="8" y="8"/>
                    <a:pt x="8" y="8"/>
                    <a:pt x="8" y="8"/>
                  </a:cubicBezTo>
                  <a:lnTo>
                    <a:pt x="8" y="88"/>
                  </a:lnTo>
                  <a:close/>
                  <a:moveTo>
                    <a:pt x="40" y="80"/>
                  </a:moveTo>
                  <a:cubicBezTo>
                    <a:pt x="38" y="80"/>
                    <a:pt x="36" y="78"/>
                    <a:pt x="36" y="76"/>
                  </a:cubicBezTo>
                  <a:cubicBezTo>
                    <a:pt x="36" y="20"/>
                    <a:pt x="36" y="20"/>
                    <a:pt x="36" y="20"/>
                  </a:cubicBezTo>
                  <a:cubicBezTo>
                    <a:pt x="36" y="18"/>
                    <a:pt x="38" y="16"/>
                    <a:pt x="40" y="16"/>
                  </a:cubicBezTo>
                  <a:cubicBezTo>
                    <a:pt x="42" y="16"/>
                    <a:pt x="44" y="18"/>
                    <a:pt x="44" y="20"/>
                  </a:cubicBezTo>
                  <a:cubicBezTo>
                    <a:pt x="44" y="76"/>
                    <a:pt x="44" y="76"/>
                    <a:pt x="44" y="76"/>
                  </a:cubicBezTo>
                  <a:cubicBezTo>
                    <a:pt x="44" y="78"/>
                    <a:pt x="42"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28"/>
            <p:cNvSpPr>
              <a:spLocks/>
            </p:cNvSpPr>
            <p:nvPr/>
          </p:nvSpPr>
          <p:spPr bwMode="auto">
            <a:xfrm>
              <a:off x="3145" y="1837"/>
              <a:ext cx="101" cy="138"/>
            </a:xfrm>
            <a:custGeom>
              <a:avLst/>
              <a:gdLst>
                <a:gd name="T0" fmla="*/ 19 w 38"/>
                <a:gd name="T1" fmla="*/ 52 h 52"/>
                <a:gd name="T2" fmla="*/ 3 w 38"/>
                <a:gd name="T3" fmla="*/ 49 h 52"/>
                <a:gd name="T4" fmla="*/ 1 w 38"/>
                <a:gd name="T5" fmla="*/ 43 h 52"/>
                <a:gd name="T6" fmla="*/ 6 w 38"/>
                <a:gd name="T7" fmla="*/ 41 h 52"/>
                <a:gd name="T8" fmla="*/ 27 w 38"/>
                <a:gd name="T9" fmla="*/ 42 h 52"/>
                <a:gd name="T10" fmla="*/ 29 w 38"/>
                <a:gd name="T11" fmla="*/ 37 h 52"/>
                <a:gd name="T12" fmla="*/ 19 w 38"/>
                <a:gd name="T13" fmla="*/ 31 h 52"/>
                <a:gd name="T14" fmla="*/ 3 w 38"/>
                <a:gd name="T15" fmla="*/ 15 h 52"/>
                <a:gd name="T16" fmla="*/ 9 w 38"/>
                <a:gd name="T17" fmla="*/ 4 h 52"/>
                <a:gd name="T18" fmla="*/ 36 w 38"/>
                <a:gd name="T19" fmla="*/ 5 h 52"/>
                <a:gd name="T20" fmla="*/ 37 w 38"/>
                <a:gd name="T21" fmla="*/ 11 h 52"/>
                <a:gd name="T22" fmla="*/ 32 w 38"/>
                <a:gd name="T23" fmla="*/ 12 h 52"/>
                <a:gd name="T24" fmla="*/ 13 w 38"/>
                <a:gd name="T25" fmla="*/ 11 h 52"/>
                <a:gd name="T26" fmla="*/ 11 w 38"/>
                <a:gd name="T27" fmla="*/ 15 h 52"/>
                <a:gd name="T28" fmla="*/ 22 w 38"/>
                <a:gd name="T29" fmla="*/ 23 h 52"/>
                <a:gd name="T30" fmla="*/ 37 w 38"/>
                <a:gd name="T31" fmla="*/ 37 h 52"/>
                <a:gd name="T32" fmla="*/ 31 w 38"/>
                <a:gd name="T33" fmla="*/ 49 h 52"/>
                <a:gd name="T34" fmla="*/ 19 w 38"/>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2">
                  <a:moveTo>
                    <a:pt x="19" y="52"/>
                  </a:moveTo>
                  <a:cubicBezTo>
                    <a:pt x="14" y="52"/>
                    <a:pt x="8" y="50"/>
                    <a:pt x="3" y="49"/>
                  </a:cubicBezTo>
                  <a:cubicBezTo>
                    <a:pt x="1" y="48"/>
                    <a:pt x="0" y="45"/>
                    <a:pt x="1" y="43"/>
                  </a:cubicBezTo>
                  <a:cubicBezTo>
                    <a:pt x="1" y="41"/>
                    <a:pt x="4" y="40"/>
                    <a:pt x="6" y="41"/>
                  </a:cubicBezTo>
                  <a:cubicBezTo>
                    <a:pt x="14" y="44"/>
                    <a:pt x="23" y="45"/>
                    <a:pt x="27" y="42"/>
                  </a:cubicBezTo>
                  <a:cubicBezTo>
                    <a:pt x="28" y="41"/>
                    <a:pt x="29" y="40"/>
                    <a:pt x="29" y="37"/>
                  </a:cubicBezTo>
                  <a:cubicBezTo>
                    <a:pt x="29" y="34"/>
                    <a:pt x="26" y="33"/>
                    <a:pt x="19" y="31"/>
                  </a:cubicBezTo>
                  <a:cubicBezTo>
                    <a:pt x="12" y="28"/>
                    <a:pt x="3" y="25"/>
                    <a:pt x="3" y="15"/>
                  </a:cubicBezTo>
                  <a:cubicBezTo>
                    <a:pt x="3" y="10"/>
                    <a:pt x="5" y="6"/>
                    <a:pt x="9" y="4"/>
                  </a:cubicBezTo>
                  <a:cubicBezTo>
                    <a:pt x="17" y="0"/>
                    <a:pt x="30" y="2"/>
                    <a:pt x="36" y="5"/>
                  </a:cubicBezTo>
                  <a:cubicBezTo>
                    <a:pt x="37" y="6"/>
                    <a:pt x="38" y="9"/>
                    <a:pt x="37" y="11"/>
                  </a:cubicBezTo>
                  <a:cubicBezTo>
                    <a:pt x="36" y="13"/>
                    <a:pt x="34" y="13"/>
                    <a:pt x="32" y="12"/>
                  </a:cubicBezTo>
                  <a:cubicBezTo>
                    <a:pt x="28" y="10"/>
                    <a:pt x="18" y="8"/>
                    <a:pt x="13" y="11"/>
                  </a:cubicBezTo>
                  <a:cubicBezTo>
                    <a:pt x="11" y="12"/>
                    <a:pt x="11" y="13"/>
                    <a:pt x="11" y="15"/>
                  </a:cubicBezTo>
                  <a:cubicBezTo>
                    <a:pt x="11" y="19"/>
                    <a:pt x="14" y="21"/>
                    <a:pt x="22" y="23"/>
                  </a:cubicBezTo>
                  <a:cubicBezTo>
                    <a:pt x="28" y="25"/>
                    <a:pt x="37" y="28"/>
                    <a:pt x="37" y="37"/>
                  </a:cubicBezTo>
                  <a:cubicBezTo>
                    <a:pt x="37" y="43"/>
                    <a:pt x="34" y="47"/>
                    <a:pt x="31" y="49"/>
                  </a:cubicBezTo>
                  <a:cubicBezTo>
                    <a:pt x="28" y="51"/>
                    <a:pt x="24" y="52"/>
                    <a:pt x="1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4"/>
          <p:cNvGrpSpPr>
            <a:grpSpLocks noChangeAspect="1"/>
          </p:cNvGrpSpPr>
          <p:nvPr userDrawn="1"/>
        </p:nvGrpSpPr>
        <p:grpSpPr bwMode="auto">
          <a:xfrm>
            <a:off x="11434986" y="424646"/>
            <a:ext cx="320229" cy="292709"/>
            <a:chOff x="293" y="695"/>
            <a:chExt cx="256" cy="234"/>
          </a:xfrm>
          <a:solidFill>
            <a:schemeClr val="bg1"/>
          </a:solidFill>
        </p:grpSpPr>
        <p:sp>
          <p:nvSpPr>
            <p:cNvPr id="27"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9" name="Freeform 19"/>
          <p:cNvSpPr>
            <a:spLocks noEditPoints="1"/>
          </p:cNvSpPr>
          <p:nvPr userDrawn="1"/>
        </p:nvSpPr>
        <p:spPr bwMode="auto">
          <a:xfrm>
            <a:off x="11443117" y="3852981"/>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13" name="Straight Connector 12"/>
          <p:cNvCxnSpPr/>
          <p:nvPr userDrawn="1"/>
        </p:nvCxnSpPr>
        <p:spPr>
          <a:xfrm>
            <a:off x="11239500" y="1145870"/>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11239500" y="2297642"/>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11239500" y="3433551"/>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11239500" y="4559336"/>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11239500" y="5713825"/>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34" name="TextBox 33"/>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smtClean="0">
                <a:solidFill>
                  <a:srgbClr val="FF0000"/>
                </a:solidFill>
              </a:rPr>
              <a:t>These slides provide</a:t>
            </a:r>
            <a:r>
              <a:rPr lang="en-US" sz="1050" baseline="0" dirty="0" smtClean="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smtClean="0">
              <a:solidFill>
                <a:srgbClr val="FF0000"/>
              </a:solidFill>
            </a:endParaRPr>
          </a:p>
          <a:p>
            <a:pPr algn="l"/>
            <a:r>
              <a:rPr lang="en-US" sz="1050" baseline="0" dirty="0" smtClean="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2862644065"/>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BACK PAG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2"/>
            </p:custDataLst>
            <p:extLst>
              <p:ext uri="{D42A27DB-BD31-4B8C-83A1-F6EECF244321}">
                <p14:modId xmlns:p14="http://schemas.microsoft.com/office/powerpoint/2010/main" val="6676314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0573"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52E706-1FE4-5448-BF88-BDD1A5847DF0}"/>
              </a:ext>
            </a:extLst>
          </p:cNvPr>
          <p:cNvSpPr txBox="1"/>
          <p:nvPr/>
        </p:nvSpPr>
        <p:spPr>
          <a:xfrm>
            <a:off x="374977" y="2505671"/>
            <a:ext cx="8553624" cy="1846659"/>
          </a:xfrm>
          <a:prstGeom prst="rect">
            <a:avLst/>
          </a:prstGeom>
          <a:noFill/>
        </p:spPr>
        <p:txBody>
          <a:bodyPr wrap="none" lIns="0" tIns="0" rIns="0" bIns="0" rtlCol="0" anchor="ctr">
            <a:spAutoFit/>
          </a:bodyPr>
          <a:lstStyle/>
          <a:p>
            <a:pPr algn="l"/>
            <a:r>
              <a:rPr lang="en-US" sz="12000" b="1" i="0" dirty="0" smtClean="0">
                <a:solidFill>
                  <a:schemeClr val="bg1"/>
                </a:solidFill>
                <a:latin typeface="Arial" panose="020B0604020202020204" pitchFamily="34" charset="0"/>
                <a:cs typeface="Arial" panose="020B0604020202020204" pitchFamily="34" charset="0"/>
              </a:rPr>
              <a:t>Back page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024727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2"/>
            </p:custDataLst>
            <p:extLst>
              <p:ext uri="{D42A27DB-BD31-4B8C-83A1-F6EECF244321}">
                <p14:modId xmlns:p14="http://schemas.microsoft.com/office/powerpoint/2010/main" val="4944008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1596"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41171F7F-6D9E-5F49-9AA3-DEF9F2C59F0F}"/>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486802" y="2984402"/>
            <a:ext cx="2615184" cy="544830"/>
          </a:xfrm>
          <a:prstGeom prst="rect">
            <a:avLst/>
          </a:prstGeom>
        </p:spPr>
      </p:pic>
      <p:sp>
        <p:nvSpPr>
          <p:cNvPr id="8" name="Rectangle 7">
            <a:extLst>
              <a:ext uri="{FF2B5EF4-FFF2-40B4-BE49-F238E27FC236}">
                <a16:creationId xmlns:a16="http://schemas.microsoft.com/office/drawing/2014/main" id="{0E3EC6FD-E652-9349-AE1C-8BD4ACBE5962}"/>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tx2"/>
                </a:solidFill>
                <a:effectLst/>
                <a:latin typeface="Arial" panose="020B0604020202020204" pitchFamily="34" charset="0"/>
              </a:rPr>
              <a:t>A business of Marsh McLennan</a:t>
            </a:r>
            <a:endParaRPr lang="en-US" sz="1400" dirty="0">
              <a:solidFill>
                <a:schemeClr val="tx2"/>
              </a:solidFill>
            </a:endParaRPr>
          </a:p>
        </p:txBody>
      </p:sp>
    </p:spTree>
    <p:extLst>
      <p:ext uri="{BB962C8B-B14F-4D97-AF65-F5344CB8AC3E}">
        <p14:creationId xmlns:p14="http://schemas.microsoft.com/office/powerpoint/2010/main" val="6665309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Back page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2"/>
            </p:custDataLst>
            <p:extLst>
              <p:ext uri="{D42A27DB-BD31-4B8C-83A1-F6EECF244321}">
                <p14:modId xmlns:p14="http://schemas.microsoft.com/office/powerpoint/2010/main" val="9367766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2620"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1C5E338E-16D3-0A44-9BC7-F9FCD3106CFD}"/>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486802" y="2984402"/>
            <a:ext cx="2615184" cy="544830"/>
          </a:xfrm>
          <a:prstGeom prst="rect">
            <a:avLst/>
          </a:prstGeom>
        </p:spPr>
      </p:pic>
      <p:sp>
        <p:nvSpPr>
          <p:cNvPr id="5" name="Rectangle 4">
            <a:extLst>
              <a:ext uri="{FF2B5EF4-FFF2-40B4-BE49-F238E27FC236}">
                <a16:creationId xmlns:a16="http://schemas.microsoft.com/office/drawing/2014/main" id="{9EBBD039-CADC-3842-8CB7-3BA3EBE03DB2}"/>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bg1"/>
                </a:solidFill>
                <a:effectLst/>
                <a:latin typeface="Arial" panose="020B0604020202020204" pitchFamily="34" charset="0"/>
              </a:rPr>
              <a:t>A business of Marsh McLennan</a:t>
            </a:r>
            <a:endParaRPr lang="en-US" sz="1400" dirty="0">
              <a:solidFill>
                <a:schemeClr val="bg1"/>
              </a:solidFill>
            </a:endParaRPr>
          </a:p>
        </p:txBody>
      </p:sp>
    </p:spTree>
    <p:extLst>
      <p:ext uri="{BB962C8B-B14F-4D97-AF65-F5344CB8AC3E}">
        <p14:creationId xmlns:p14="http://schemas.microsoft.com/office/powerpoint/2010/main" val="370667033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Back page + disclaim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2"/>
            </p:custDataLst>
            <p:extLst>
              <p:ext uri="{D42A27DB-BD31-4B8C-83A1-F6EECF244321}">
                <p14:modId xmlns:p14="http://schemas.microsoft.com/office/powerpoint/2010/main" val="40061646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3644"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B97647A-7060-6441-95B5-4F3CABC16890}"/>
              </a:ext>
            </a:extLst>
          </p:cNvPr>
          <p:cNvSpPr>
            <a:spLocks noGrp="1"/>
          </p:cNvSpPr>
          <p:nvPr>
            <p:ph type="body" sz="quarter" idx="10" hasCustomPrompt="1"/>
          </p:nvPr>
        </p:nvSpPr>
        <p:spPr>
          <a:xfrm>
            <a:off x="485775" y="1609725"/>
            <a:ext cx="11223625" cy="3703320"/>
          </a:xfrm>
        </p:spPr>
        <p:txBody>
          <a:bodyPr anchor="t" anchorCtr="0">
            <a:normAutofit/>
          </a:bodyPr>
          <a:lstStyle>
            <a:lvl1pPr>
              <a:spcBef>
                <a:spcPts val="0"/>
              </a:spcBef>
              <a:defRPr sz="800">
                <a:solidFill>
                  <a:schemeClr val="tx2"/>
                </a:solidFill>
              </a:defRPr>
            </a:lvl1pPr>
          </a:lstStyle>
          <a:p>
            <a:pPr lvl="0"/>
            <a:r>
              <a:rPr lang="en-US" dirty="0"/>
              <a:t>Click to add disclaimer</a:t>
            </a:r>
          </a:p>
        </p:txBody>
      </p:sp>
      <p:pic>
        <p:nvPicPr>
          <p:cNvPr id="11" name="Graphic 10">
            <a:extLst>
              <a:ext uri="{FF2B5EF4-FFF2-40B4-BE49-F238E27FC236}">
                <a16:creationId xmlns:a16="http://schemas.microsoft.com/office/drawing/2014/main" id="{7A1D7202-DC3D-C64A-8448-4612A72608D8}"/>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486802" y="554729"/>
            <a:ext cx="1857071" cy="386890"/>
          </a:xfrm>
          <a:prstGeom prst="rect">
            <a:avLst/>
          </a:prstGeom>
        </p:spPr>
      </p:pic>
      <p:sp>
        <p:nvSpPr>
          <p:cNvPr id="7" name="Rectangle 6">
            <a:extLst>
              <a:ext uri="{FF2B5EF4-FFF2-40B4-BE49-F238E27FC236}">
                <a16:creationId xmlns:a16="http://schemas.microsoft.com/office/drawing/2014/main" id="{42F49B1B-455D-374F-B8F9-2EFFBC395C19}"/>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tx2"/>
                </a:solidFill>
                <a:effectLst/>
                <a:latin typeface="Arial" panose="020B0604020202020204" pitchFamily="34" charset="0"/>
              </a:rPr>
              <a:t>A business of Marsh McLennan</a:t>
            </a:r>
            <a:endParaRPr lang="en-US" sz="1400" dirty="0">
              <a:solidFill>
                <a:schemeClr val="tx2"/>
              </a:solidFill>
            </a:endParaRPr>
          </a:p>
        </p:txBody>
      </p:sp>
    </p:spTree>
    <p:extLst>
      <p:ext uri="{BB962C8B-B14F-4D97-AF65-F5344CB8AC3E}">
        <p14:creationId xmlns:p14="http://schemas.microsoft.com/office/powerpoint/2010/main" val="90912518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Back page blue + disclaimer">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2"/>
            </p:custDataLst>
            <p:extLst>
              <p:ext uri="{D42A27DB-BD31-4B8C-83A1-F6EECF244321}">
                <p14:modId xmlns:p14="http://schemas.microsoft.com/office/powerpoint/2010/main" val="13274936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4668"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Text Placeholder 11">
            <a:extLst>
              <a:ext uri="{FF2B5EF4-FFF2-40B4-BE49-F238E27FC236}">
                <a16:creationId xmlns:a16="http://schemas.microsoft.com/office/drawing/2014/main" id="{50A11EE6-855A-9049-A228-49ED1E9FCB28}"/>
              </a:ext>
            </a:extLst>
          </p:cNvPr>
          <p:cNvSpPr>
            <a:spLocks noGrp="1"/>
          </p:cNvSpPr>
          <p:nvPr>
            <p:ph type="body" sz="quarter" idx="10" hasCustomPrompt="1"/>
          </p:nvPr>
        </p:nvSpPr>
        <p:spPr>
          <a:xfrm>
            <a:off x="485775" y="1609725"/>
            <a:ext cx="11223625" cy="3703804"/>
          </a:xfrm>
        </p:spPr>
        <p:txBody>
          <a:bodyPr anchor="t" anchorCtr="0">
            <a:normAutofit/>
          </a:bodyPr>
          <a:lstStyle>
            <a:lvl1pPr>
              <a:spcBef>
                <a:spcPts val="0"/>
              </a:spcBef>
              <a:defRPr sz="800">
                <a:solidFill>
                  <a:schemeClr val="bg1"/>
                </a:solidFill>
              </a:defRPr>
            </a:lvl1pPr>
          </a:lstStyle>
          <a:p>
            <a:pPr lvl="0"/>
            <a:r>
              <a:rPr lang="en-US" dirty="0"/>
              <a:t>Click to add disclaimer</a:t>
            </a:r>
          </a:p>
        </p:txBody>
      </p:sp>
      <p:sp>
        <p:nvSpPr>
          <p:cNvPr id="8" name="TextBox 7">
            <a:extLst>
              <a:ext uri="{FF2B5EF4-FFF2-40B4-BE49-F238E27FC236}">
                <a16:creationId xmlns:a16="http://schemas.microsoft.com/office/drawing/2014/main" id="{0774C7E3-C8BD-E848-AACB-125BC2BDCD58}"/>
              </a:ext>
            </a:extLst>
          </p:cNvPr>
          <p:cNvSpPr txBox="1"/>
          <p:nvPr/>
        </p:nvSpPr>
        <p:spPr>
          <a:xfrm>
            <a:off x="474202" y="5585606"/>
            <a:ext cx="5874840" cy="535794"/>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2"/>
                </a:solidFill>
                <a:effectLst/>
                <a:latin typeface="+mn-lt"/>
                <a:ea typeface="+mn-ea"/>
                <a:cs typeface="+mn-cs"/>
              </a:rPr>
              <a:t>We are leaders in risk, strategy and people. One company, with four global businesses, united by a shared purpose to make a difference in the moments that matter.</a:t>
            </a:r>
          </a:p>
        </p:txBody>
      </p:sp>
      <p:pic>
        <p:nvPicPr>
          <p:cNvPr id="9" name="Graphic 8">
            <a:extLst>
              <a:ext uri="{FF2B5EF4-FFF2-40B4-BE49-F238E27FC236}">
                <a16:creationId xmlns:a16="http://schemas.microsoft.com/office/drawing/2014/main" id="{1C0978F2-580C-D846-BB1D-2538154CE247}"/>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486802" y="554729"/>
            <a:ext cx="1857071" cy="386890"/>
          </a:xfrm>
          <a:prstGeom prst="rect">
            <a:avLst/>
          </a:prstGeom>
        </p:spPr>
      </p:pic>
      <p:sp>
        <p:nvSpPr>
          <p:cNvPr id="7" name="Rectangle 6">
            <a:extLst>
              <a:ext uri="{FF2B5EF4-FFF2-40B4-BE49-F238E27FC236}">
                <a16:creationId xmlns:a16="http://schemas.microsoft.com/office/drawing/2014/main" id="{2BB901D0-3F63-BF40-93C9-68ACEA3BFCE7}"/>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bg1"/>
                </a:solidFill>
                <a:effectLst/>
                <a:latin typeface="Arial" panose="020B0604020202020204" pitchFamily="34" charset="0"/>
              </a:rPr>
              <a:t>A business of Marsh McLennan</a:t>
            </a:r>
            <a:endParaRPr lang="en-US" sz="1400" dirty="0">
              <a:solidFill>
                <a:schemeClr val="bg1"/>
              </a:solidFill>
            </a:endParaRPr>
          </a:p>
        </p:txBody>
      </p:sp>
    </p:spTree>
    <p:extLst>
      <p:ext uri="{BB962C8B-B14F-4D97-AF65-F5344CB8AC3E}">
        <p14:creationId xmlns:p14="http://schemas.microsoft.com/office/powerpoint/2010/main" val="27078230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23331816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564"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7" y="1616075"/>
            <a:ext cx="3578224" cy="4505325"/>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4" name="Content Placeholder 3"/>
          <p:cNvSpPr>
            <a:spLocks noGrp="1"/>
          </p:cNvSpPr>
          <p:nvPr>
            <p:ph sz="half" idx="2"/>
          </p:nvPr>
        </p:nvSpPr>
        <p:spPr>
          <a:xfrm>
            <a:off x="4317755" y="1616075"/>
            <a:ext cx="3578224" cy="4505325"/>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8128000" y="1616075"/>
            <a:ext cx="3578223" cy="4505326"/>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10" name="Text Placeholder 3">
            <a:extLst>
              <a:ext uri="{FF2B5EF4-FFF2-40B4-BE49-F238E27FC236}">
                <a16:creationId xmlns:a16="http://schemas.microsoft.com/office/drawing/2014/main" id="{46026CD4-41A6-2745-806A-108B86DE8600}"/>
              </a:ext>
            </a:extLst>
          </p:cNvPr>
          <p:cNvSpPr>
            <a:spLocks noGrp="1"/>
          </p:cNvSpPr>
          <p:nvPr>
            <p:ph type="body" sz="half" idx="12"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1" name="Title 1">
            <a:extLst>
              <a:ext uri="{FF2B5EF4-FFF2-40B4-BE49-F238E27FC236}">
                <a16:creationId xmlns:a16="http://schemas.microsoft.com/office/drawing/2014/main" id="{24127F47-2151-2E4E-804E-5041FF74C799}"/>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1AB0AB67-B739-1E41-9B7F-40BDB88E8937}"/>
              </a:ext>
            </a:extLst>
          </p:cNvPr>
          <p:cNvSpPr>
            <a:spLocks noGrp="1"/>
          </p:cNvSpPr>
          <p:nvPr>
            <p:ph type="body" sz="half" idx="13"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21127925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41605610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588"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6" y="1616075"/>
            <a:ext cx="2626455"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4" name="Content Placeholder 3"/>
          <p:cNvSpPr>
            <a:spLocks noGrp="1"/>
          </p:cNvSpPr>
          <p:nvPr>
            <p:ph sz="half" idx="2"/>
          </p:nvPr>
        </p:nvSpPr>
        <p:spPr>
          <a:xfrm>
            <a:off x="3352800" y="1616075"/>
            <a:ext cx="2628900"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9089292" y="1616075"/>
            <a:ext cx="2616932"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9" name="Content Placeholder 3">
            <a:extLst>
              <a:ext uri="{FF2B5EF4-FFF2-40B4-BE49-F238E27FC236}">
                <a16:creationId xmlns:a16="http://schemas.microsoft.com/office/drawing/2014/main" id="{90CFE4A1-AAEA-9742-8946-359C3F5D0A1A}"/>
              </a:ext>
            </a:extLst>
          </p:cNvPr>
          <p:cNvSpPr>
            <a:spLocks noGrp="1"/>
          </p:cNvSpPr>
          <p:nvPr>
            <p:ph sz="half" idx="12"/>
          </p:nvPr>
        </p:nvSpPr>
        <p:spPr>
          <a:xfrm>
            <a:off x="6219823" y="1616075"/>
            <a:ext cx="2619377"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22" name="Text Placeholder 3">
            <a:extLst>
              <a:ext uri="{FF2B5EF4-FFF2-40B4-BE49-F238E27FC236}">
                <a16:creationId xmlns:a16="http://schemas.microsoft.com/office/drawing/2014/main" id="{A9C0AEB2-29EF-7A4A-9D9F-717BFB9D7E58}"/>
              </a:ext>
            </a:extLst>
          </p:cNvPr>
          <p:cNvSpPr>
            <a:spLocks noGrp="1"/>
          </p:cNvSpPr>
          <p:nvPr>
            <p:ph type="body" sz="half" idx="13" hasCustomPrompt="1"/>
          </p:nvPr>
        </p:nvSpPr>
        <p:spPr>
          <a:xfrm>
            <a:off x="6210301" y="6388100"/>
            <a:ext cx="4546599"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1" name="Title 1">
            <a:extLst>
              <a:ext uri="{FF2B5EF4-FFF2-40B4-BE49-F238E27FC236}">
                <a16:creationId xmlns:a16="http://schemas.microsoft.com/office/drawing/2014/main" id="{83CB1B1D-63D8-624F-8FE2-BACDF39AFA38}"/>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93192BB1-48EF-E34D-A18B-088C2525C8DE}"/>
              </a:ext>
            </a:extLst>
          </p:cNvPr>
          <p:cNvSpPr>
            <a:spLocks noGrp="1"/>
          </p:cNvSpPr>
          <p:nvPr>
            <p:ph type="body" sz="half" idx="14"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36593481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ix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15020574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612"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5"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4" name="Content Placeholder 3"/>
          <p:cNvSpPr>
            <a:spLocks noGrp="1"/>
          </p:cNvSpPr>
          <p:nvPr>
            <p:ph sz="half" idx="2"/>
          </p:nvPr>
        </p:nvSpPr>
        <p:spPr>
          <a:xfrm>
            <a:off x="2397760"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6221730"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9" name="Content Placeholder 3">
            <a:extLst>
              <a:ext uri="{FF2B5EF4-FFF2-40B4-BE49-F238E27FC236}">
                <a16:creationId xmlns:a16="http://schemas.microsoft.com/office/drawing/2014/main" id="{90CFE4A1-AAEA-9742-8946-359C3F5D0A1A}"/>
              </a:ext>
            </a:extLst>
          </p:cNvPr>
          <p:cNvSpPr>
            <a:spLocks noGrp="1"/>
          </p:cNvSpPr>
          <p:nvPr>
            <p:ph sz="half" idx="12"/>
          </p:nvPr>
        </p:nvSpPr>
        <p:spPr>
          <a:xfrm>
            <a:off x="4309745"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10" name="Content Placeholder 3">
            <a:extLst>
              <a:ext uri="{FF2B5EF4-FFF2-40B4-BE49-F238E27FC236}">
                <a16:creationId xmlns:a16="http://schemas.microsoft.com/office/drawing/2014/main" id="{B60CBF3D-4AE0-E04C-A0D8-C2B53DF312B4}"/>
              </a:ext>
            </a:extLst>
          </p:cNvPr>
          <p:cNvSpPr>
            <a:spLocks noGrp="1"/>
          </p:cNvSpPr>
          <p:nvPr>
            <p:ph sz="half" idx="13"/>
          </p:nvPr>
        </p:nvSpPr>
        <p:spPr>
          <a:xfrm>
            <a:off x="8133715"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11" name="Content Placeholder 3">
            <a:extLst>
              <a:ext uri="{FF2B5EF4-FFF2-40B4-BE49-F238E27FC236}">
                <a16:creationId xmlns:a16="http://schemas.microsoft.com/office/drawing/2014/main" id="{D441AD0A-E6DF-5847-BEB4-907DA9B01661}"/>
              </a:ext>
            </a:extLst>
          </p:cNvPr>
          <p:cNvSpPr>
            <a:spLocks noGrp="1"/>
          </p:cNvSpPr>
          <p:nvPr>
            <p:ph sz="half" idx="14"/>
          </p:nvPr>
        </p:nvSpPr>
        <p:spPr>
          <a:xfrm>
            <a:off x="10045698"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12" name="Text Placeholder 3">
            <a:extLst>
              <a:ext uri="{FF2B5EF4-FFF2-40B4-BE49-F238E27FC236}">
                <a16:creationId xmlns:a16="http://schemas.microsoft.com/office/drawing/2014/main" id="{775FE915-A989-2C4F-B5CF-8C03CD0485CB}"/>
              </a:ext>
            </a:extLst>
          </p:cNvPr>
          <p:cNvSpPr>
            <a:spLocks noGrp="1"/>
          </p:cNvSpPr>
          <p:nvPr>
            <p:ph type="body" sz="half" idx="15" hasCustomPrompt="1"/>
          </p:nvPr>
        </p:nvSpPr>
        <p:spPr>
          <a:xfrm>
            <a:off x="6221731" y="6388100"/>
            <a:ext cx="453517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4" name="Title 1">
            <a:extLst>
              <a:ext uri="{FF2B5EF4-FFF2-40B4-BE49-F238E27FC236}">
                <a16:creationId xmlns:a16="http://schemas.microsoft.com/office/drawing/2014/main" id="{ABCBBFA3-BF99-FC46-8DCA-D9D911944ABD}"/>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5" name="Text Placeholder 3">
            <a:extLst>
              <a:ext uri="{FF2B5EF4-FFF2-40B4-BE49-F238E27FC236}">
                <a16:creationId xmlns:a16="http://schemas.microsoft.com/office/drawing/2014/main" id="{B46280AB-2B05-3446-8F2E-AD2C0974CB6E}"/>
              </a:ext>
            </a:extLst>
          </p:cNvPr>
          <p:cNvSpPr>
            <a:spLocks noGrp="1"/>
          </p:cNvSpPr>
          <p:nvPr>
            <p:ph type="body" sz="half" idx="16"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35514268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2"/>
            </p:custDataLst>
            <p:extLst>
              <p:ext uri="{D42A27DB-BD31-4B8C-83A1-F6EECF244321}">
                <p14:modId xmlns:p14="http://schemas.microsoft.com/office/powerpoint/2010/main" val="1464383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637"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7" name="Title 1">
            <a:extLst>
              <a:ext uri="{FF2B5EF4-FFF2-40B4-BE49-F238E27FC236}">
                <a16:creationId xmlns:a16="http://schemas.microsoft.com/office/drawing/2014/main" id="{354D9E00-BE79-044E-880B-B336004BBA7A}"/>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98285722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heme" Target="../theme/theme1.xml"/><Relationship Id="rId65"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emf"/><Relationship Id="rId77" Type="http://schemas.openxmlformats.org/officeDocument/2006/relationships/image" Target="../media/image3.sv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609EAE9-575C-BC49-807B-2EA04A66243B}"/>
              </a:ext>
            </a:extLst>
          </p:cNvPr>
          <p:cNvGraphicFramePr>
            <a:graphicFrameLocks noChangeAspect="1"/>
          </p:cNvGraphicFramePr>
          <p:nvPr>
            <p:custDataLst>
              <p:tags r:id="rId62"/>
            </p:custDataLst>
            <p:extLst>
              <p:ext uri="{D42A27DB-BD31-4B8C-83A1-F6EECF244321}">
                <p14:modId xmlns:p14="http://schemas.microsoft.com/office/powerpoint/2010/main" val="19840748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26" name="think-cell Slide" r:id="rId63" imgW="7772400" imgH="10058400" progId="TCLayout.ActiveDocument.1">
                  <p:embed/>
                </p:oleObj>
              </mc:Choice>
              <mc:Fallback>
                <p:oleObj name="think-cell Slide" r:id="rId63" imgW="7772400" imgH="10058400" progId="TCLayout.ActiveDocument.1">
                  <p:embed/>
                  <p:pic>
                    <p:nvPicPr>
                      <p:cNvPr id="8" name="Object 7" hidden="1">
                        <a:extLst>
                          <a:ext uri="{FF2B5EF4-FFF2-40B4-BE49-F238E27FC236}">
                            <a16:creationId xmlns:a16="http://schemas.microsoft.com/office/drawing/2014/main" id="{0609EAE9-575C-BC49-807B-2EA04A66243B}"/>
                          </a:ext>
                        </a:extLst>
                      </p:cNvPr>
                      <p:cNvPicPr/>
                      <p:nvPr/>
                    </p:nvPicPr>
                    <p:blipFill>
                      <a:blip r:embed="rId64"/>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58217" y="355601"/>
            <a:ext cx="11223624" cy="495299"/>
          </a:xfrm>
          <a:prstGeom prst="rect">
            <a:avLst/>
          </a:prstGeom>
        </p:spPr>
        <p:txBody>
          <a:bodyPr vert="horz" lIns="0" tIns="0" rIns="0" bIns="0" rtlCol="0" anchor="t">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85776" y="1609725"/>
            <a:ext cx="11223624" cy="4514302"/>
          </a:xfrm>
          <a:prstGeom prst="rect">
            <a:avLst/>
          </a:prstGeom>
        </p:spPr>
        <p:txBody>
          <a:bodyPr vert="horz" lIns="0" tIns="0" rIns="0" bIns="0" rtlCol="0" anchor="t">
            <a:noAutofit/>
          </a:bodyPr>
          <a:lstStyle/>
          <a:p>
            <a:pPr lvl="0"/>
            <a:r>
              <a:rPr lang="en-US" dirty="0"/>
              <a:t>Click to edit Master text styles</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27" name="TextBox 26">
            <a:extLst>
              <a:ext uri="{FF2B5EF4-FFF2-40B4-BE49-F238E27FC236}">
                <a16:creationId xmlns:a16="http://schemas.microsoft.com/office/drawing/2014/main" id="{9A6A4D16-2CB5-DA4B-9931-20D3477C5477}"/>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tx1"/>
                </a:solidFill>
                <a:effectLst/>
                <a:latin typeface="+mn-lt"/>
                <a:ea typeface="+mn-ea"/>
                <a:cs typeface="+mn-cs"/>
              </a:rPr>
              <a:t>‹#›</a:t>
            </a:fld>
            <a:endParaRPr lang="en-US" sz="800" kern="1200" dirty="0">
              <a:solidFill>
                <a:schemeClr val="tx1"/>
              </a:solidFill>
              <a:effectLst/>
              <a:latin typeface="+mn-lt"/>
              <a:ea typeface="+mn-ea"/>
              <a:cs typeface="+mn-cs"/>
            </a:endParaRPr>
          </a:p>
        </p:txBody>
      </p:sp>
      <p:pic>
        <p:nvPicPr>
          <p:cNvPr id="10" name="Graphic 9">
            <a:extLst>
              <a:ext uri="{FF2B5EF4-FFF2-40B4-BE49-F238E27FC236}">
                <a16:creationId xmlns:a16="http://schemas.microsoft.com/office/drawing/2014/main" id="{D0BD2358-DC70-594C-AEF2-F1AF15153B94}"/>
              </a:ext>
            </a:extLst>
          </p:cNvPr>
          <p:cNvPicPr>
            <a:picLocks noChangeAspect="1"/>
          </p:cNvPicPr>
          <p:nvPr/>
        </p:nvPicPr>
        <p:blipFill>
          <a:blip r:embed="rId65">
            <a:extLst>
              <a:ext uri="{96DAC541-7B7A-43D3-8B79-37D633B846F1}">
                <asvg:svgBlip xmlns="" xmlns:asvg="http://schemas.microsoft.com/office/drawing/2016/SVG/main" r:embed="rId77"/>
              </a:ext>
            </a:extLst>
          </a:blip>
          <a:stretch>
            <a:fillRect/>
          </a:stretch>
        </p:blipFill>
        <p:spPr>
          <a:xfrm>
            <a:off x="485608" y="6515100"/>
            <a:ext cx="630936" cy="131445"/>
          </a:xfrm>
          <a:prstGeom prst="rect">
            <a:avLst/>
          </a:prstGeom>
        </p:spPr>
      </p:pic>
      <p:sp>
        <p:nvSpPr>
          <p:cNvPr id="7" name="TextBox 6">
            <a:extLst>
              <a:ext uri="{FF2B5EF4-FFF2-40B4-BE49-F238E27FC236}">
                <a16:creationId xmlns:a16="http://schemas.microsoft.com/office/drawing/2014/main" id="{09BA50B2-6484-EC4D-AF6E-8573FB70C5FE}"/>
              </a:ext>
            </a:extLst>
          </p:cNvPr>
          <p:cNvSpPr txBox="1"/>
          <p:nvPr userDrawn="1"/>
        </p:nvSpPr>
        <p:spPr>
          <a:xfrm>
            <a:off x="1409700" y="6517153"/>
            <a:ext cx="3606800" cy="121966"/>
          </a:xfrm>
          <a:prstGeom prst="rect">
            <a:avLst/>
          </a:prstGeom>
          <a:noFill/>
        </p:spPr>
        <p:txBody>
          <a:bodyPr wrap="none" lIns="0" tIns="0" rIns="0" bIns="0" rtlCol="0">
            <a:noAutofit/>
          </a:bodyPr>
          <a:lstStyle/>
          <a:p>
            <a:pPr indent="-457200">
              <a:spcBef>
                <a:spcPts val="1800"/>
              </a:spcBef>
            </a:pPr>
            <a:endParaRPr lang="en-US" sz="800" dirty="0">
              <a:solidFill>
                <a:schemeClr val="bg2"/>
              </a:solidFill>
            </a:endParaRPr>
          </a:p>
        </p:txBody>
      </p:sp>
    </p:spTree>
    <p:extLst>
      <p:ext uri="{BB962C8B-B14F-4D97-AF65-F5344CB8AC3E}">
        <p14:creationId xmlns:p14="http://schemas.microsoft.com/office/powerpoint/2010/main" val="3680047632"/>
      </p:ext>
    </p:extLst>
  </p:cSld>
  <p:clrMap bg1="lt1" tx1="dk1" bg2="lt2" tx2="dk2" accent1="accent1" accent2="accent2" accent3="accent3" accent4="accent4" accent5="accent5" accent6="accent6" hlink="hlink" folHlink="folHlink"/>
  <p:sldLayoutIdLst>
    <p:sldLayoutId id="2147483737"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735" r:id="rId12"/>
    <p:sldLayoutId id="2147483736" r:id="rId13"/>
    <p:sldLayoutId id="2147483672" r:id="rId14"/>
    <p:sldLayoutId id="2147483717" r:id="rId15"/>
    <p:sldLayoutId id="2147483674" r:id="rId16"/>
    <p:sldLayoutId id="2147483675" r:id="rId17"/>
    <p:sldLayoutId id="2147483676" r:id="rId18"/>
    <p:sldLayoutId id="2147483677" r:id="rId19"/>
    <p:sldLayoutId id="2147483678" r:id="rId20"/>
    <p:sldLayoutId id="2147483679" r:id="rId21"/>
    <p:sldLayoutId id="2147483696" r:id="rId22"/>
    <p:sldLayoutId id="2147483714" r:id="rId23"/>
    <p:sldLayoutId id="2147483715" r:id="rId24"/>
    <p:sldLayoutId id="2147483661" r:id="rId25"/>
    <p:sldLayoutId id="2147483697" r:id="rId26"/>
    <p:sldLayoutId id="2147483698" r:id="rId27"/>
    <p:sldLayoutId id="2147483701" r:id="rId28"/>
    <p:sldLayoutId id="2147483702" r:id="rId29"/>
    <p:sldLayoutId id="2147483703" r:id="rId30"/>
    <p:sldLayoutId id="2147483706" r:id="rId31"/>
    <p:sldLayoutId id="2147483707" r:id="rId32"/>
    <p:sldLayoutId id="2147483708" r:id="rId33"/>
    <p:sldLayoutId id="2147483687" r:id="rId34"/>
    <p:sldLayoutId id="2147483688" r:id="rId35"/>
    <p:sldLayoutId id="2147483689" r:id="rId36"/>
    <p:sldLayoutId id="2147483718" r:id="rId37"/>
    <p:sldLayoutId id="2147483690" r:id="rId38"/>
    <p:sldLayoutId id="2147483691" r:id="rId39"/>
    <p:sldLayoutId id="2147483716" r:id="rId40"/>
    <p:sldLayoutId id="2147483684" r:id="rId41"/>
    <p:sldLayoutId id="2147483680" r:id="rId42"/>
    <p:sldLayoutId id="2147483681" r:id="rId43"/>
    <p:sldLayoutId id="2147483682" r:id="rId44"/>
    <p:sldLayoutId id="2147483683" r:id="rId45"/>
    <p:sldLayoutId id="2147483734" r:id="rId46"/>
    <p:sldLayoutId id="2147483719" r:id="rId47"/>
    <p:sldLayoutId id="2147483685" r:id="rId48"/>
    <p:sldLayoutId id="2147483686" r:id="rId49"/>
    <p:sldLayoutId id="2147483726" r:id="rId50"/>
    <p:sldLayoutId id="2147483727" r:id="rId51"/>
    <p:sldLayoutId id="2147483729" r:id="rId52"/>
    <p:sldLayoutId id="2147483732" r:id="rId53"/>
    <p:sldLayoutId id="2147483733" r:id="rId54"/>
    <p:sldLayoutId id="2147483709" r:id="rId55"/>
    <p:sldLayoutId id="2147483710" r:id="rId56"/>
    <p:sldLayoutId id="2147483711" r:id="rId57"/>
    <p:sldLayoutId id="2147483712" r:id="rId58"/>
    <p:sldLayoutId id="2147483713" r:id="rId59"/>
  </p:sldLayoutIdLst>
  <p:hf hdr="0" ftr="0" dt="0"/>
  <p:txStyles>
    <p:titleStyle>
      <a:lvl1pPr algn="l" defTabSz="457200" rtl="0" eaLnBrk="1" latinLnBrk="0" hangingPunct="1">
        <a:lnSpc>
          <a:spcPct val="80000"/>
        </a:lnSpc>
        <a:spcBef>
          <a:spcPct val="0"/>
        </a:spcBef>
        <a:buNone/>
        <a:defRPr sz="3000" b="1" kern="1200">
          <a:solidFill>
            <a:schemeClr val="tx2"/>
          </a:solidFill>
          <a:latin typeface="+mj-lt"/>
          <a:ea typeface="+mj-ea"/>
          <a:cs typeface="+mj-cs"/>
        </a:defRPr>
      </a:lvl1pPr>
    </p:titleStyle>
    <p:bodyStyle>
      <a:lvl1pPr marL="0" indent="0" algn="l" defTabSz="457200" rtl="0" eaLnBrk="1" latinLnBrk="0" hangingPunct="1">
        <a:spcBef>
          <a:spcPts val="1200"/>
        </a:spcBef>
        <a:spcAft>
          <a:spcPts val="600"/>
        </a:spcAft>
        <a:buFont typeface="Arial"/>
        <a:buNone/>
        <a:defRPr sz="1800" b="0" kern="1200">
          <a:solidFill>
            <a:schemeClr val="tx1"/>
          </a:solidFill>
          <a:latin typeface="+mn-lt"/>
          <a:ea typeface="+mn-ea"/>
          <a:cs typeface="+mn-cs"/>
        </a:defRPr>
      </a:lvl1pPr>
      <a:lvl2pPr marL="228600" indent="-225425"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457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914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146175" indent="-227013" algn="l" defTabSz="457200" rtl="0" eaLnBrk="1" latinLnBrk="0" hangingPunct="1">
        <a:spcBef>
          <a:spcPts val="0"/>
        </a:spcBef>
        <a:spcAft>
          <a:spcPts val="600"/>
        </a:spcAft>
        <a:buFont typeface="Arial"/>
        <a:buChar char="•"/>
        <a:tabLst/>
        <a:defRPr sz="1200" kern="1200">
          <a:solidFill>
            <a:schemeClr val="tx1"/>
          </a:solidFill>
          <a:latin typeface="+mn-lt"/>
          <a:ea typeface="+mn-ea"/>
          <a:cs typeface="+mn-cs"/>
        </a:defRPr>
      </a:lvl6pPr>
      <a:lvl7pPr marL="1374775" indent="-228600" algn="l" defTabSz="457200" rtl="0" eaLnBrk="1" latinLnBrk="0" hangingPunct="1">
        <a:spcBef>
          <a:spcPts val="0"/>
        </a:spcBef>
        <a:spcAft>
          <a:spcPts val="600"/>
        </a:spcAft>
        <a:buFont typeface="System Font Regular"/>
        <a:buChar char="–"/>
        <a:tabLst/>
        <a:defRPr sz="1200" kern="1200">
          <a:solidFill>
            <a:schemeClr val="tx1"/>
          </a:solidFill>
          <a:latin typeface="+mn-lt"/>
          <a:ea typeface="+mn-ea"/>
          <a:cs typeface="+mn-cs"/>
        </a:defRPr>
      </a:lvl7pPr>
      <a:lvl8pPr marL="1601788" indent="-227013" algn="l" defTabSz="457200" rtl="0" eaLnBrk="1" latinLnBrk="0" hangingPunct="1">
        <a:spcBef>
          <a:spcPts val="0"/>
        </a:spcBef>
        <a:spcAft>
          <a:spcPts val="600"/>
        </a:spcAft>
        <a:buFont typeface="Arial"/>
        <a:buChar char="•"/>
        <a:tabLst/>
        <a:defRPr sz="1200" kern="1200">
          <a:solidFill>
            <a:schemeClr val="tx1"/>
          </a:solidFill>
          <a:latin typeface="+mn-lt"/>
          <a:ea typeface="+mn-ea"/>
          <a:cs typeface="+mn-cs"/>
        </a:defRPr>
      </a:lvl8pPr>
      <a:lvl9pPr marL="1830388" indent="-219075" algn="l" defTabSz="457200" rtl="0" eaLnBrk="1" latinLnBrk="0" hangingPunct="1">
        <a:spcBef>
          <a:spcPts val="0"/>
        </a:spcBef>
        <a:spcAft>
          <a:spcPts val="600"/>
        </a:spcAft>
        <a:buFont typeface="System Font Regular"/>
        <a:buChar char="–"/>
        <a:tabLst/>
        <a:defRPr sz="12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7376">
          <p15:clr>
            <a:srgbClr val="F26B43"/>
          </p15:clr>
        </p15:guide>
        <p15:guide id="2" pos="6928">
          <p15:clr>
            <a:srgbClr val="F26B43"/>
          </p15:clr>
        </p15:guide>
        <p15:guide id="3" pos="6320">
          <p15:clr>
            <a:srgbClr val="F26B43"/>
          </p15:clr>
        </p15:guide>
        <p15:guide id="4" pos="5720">
          <p15:clr>
            <a:srgbClr val="F26B43"/>
          </p15:clr>
        </p15:guide>
        <p15:guide id="5" pos="5120">
          <p15:clr>
            <a:srgbClr val="F26B43"/>
          </p15:clr>
        </p15:guide>
        <p15:guide id="6" pos="4520">
          <p15:clr>
            <a:srgbClr val="F26B43"/>
          </p15:clr>
        </p15:guide>
        <p15:guide id="7" pos="3912">
          <p15:clr>
            <a:srgbClr val="F26B43"/>
          </p15:clr>
        </p15:guide>
        <p15:guide id="8" pos="3312">
          <p15:clr>
            <a:srgbClr val="F26B43"/>
          </p15:clr>
        </p15:guide>
        <p15:guide id="9" pos="2712">
          <p15:clr>
            <a:srgbClr val="F26B43"/>
          </p15:clr>
        </p15:guide>
        <p15:guide id="10" pos="2112">
          <p15:clr>
            <a:srgbClr val="F26B43"/>
          </p15:clr>
        </p15:guide>
        <p15:guide id="11" pos="1504">
          <p15:clr>
            <a:srgbClr val="F26B43"/>
          </p15:clr>
        </p15:guide>
        <p15:guide id="13" pos="304">
          <p15:clr>
            <a:srgbClr val="F26B43"/>
          </p15:clr>
        </p15:guide>
        <p15:guide id="14" pos="6776">
          <p15:clr>
            <a:srgbClr val="F26B43"/>
          </p15:clr>
        </p15:guide>
        <p15:guide id="15" pos="6176">
          <p15:clr>
            <a:srgbClr val="F26B43"/>
          </p15:clr>
        </p15:guide>
        <p15:guide id="16" pos="5568">
          <p15:clr>
            <a:srgbClr val="F26B43"/>
          </p15:clr>
        </p15:guide>
        <p15:guide id="17" pos="4968">
          <p15:clr>
            <a:srgbClr val="F26B43"/>
          </p15:clr>
        </p15:guide>
        <p15:guide id="18" pos="4368">
          <p15:clr>
            <a:srgbClr val="F26B43"/>
          </p15:clr>
        </p15:guide>
        <p15:guide id="19" pos="3768">
          <p15:clr>
            <a:srgbClr val="F26B43"/>
          </p15:clr>
        </p15:guide>
        <p15:guide id="20" pos="3160">
          <p15:clr>
            <a:srgbClr val="F26B43"/>
          </p15:clr>
        </p15:guide>
        <p15:guide id="21" pos="2560">
          <p15:clr>
            <a:srgbClr val="F26B43"/>
          </p15:clr>
        </p15:guide>
        <p15:guide id="22" pos="1960">
          <p15:clr>
            <a:srgbClr val="F26B43"/>
          </p15:clr>
        </p15:guide>
        <p15:guide id="23" pos="1360">
          <p15:clr>
            <a:srgbClr val="F26B43"/>
          </p15:clr>
        </p15:guide>
        <p15:guide id="24" pos="752">
          <p15:clr>
            <a:srgbClr val="F26B43"/>
          </p15:clr>
        </p15:guide>
        <p15:guide id="25" pos="224">
          <p15:clr>
            <a:srgbClr val="F26B43"/>
          </p15:clr>
        </p15:guide>
        <p15:guide id="26" pos="7456">
          <p15:clr>
            <a:srgbClr val="F26B43"/>
          </p15:clr>
        </p15:guide>
        <p15:guide id="27" orient="horz" pos="4168">
          <p15:clr>
            <a:srgbClr val="F26B43"/>
          </p15:clr>
        </p15:guide>
        <p15:guide id="28" pos="888">
          <p15:clr>
            <a:srgbClr val="F26B43"/>
          </p15:clr>
        </p15:guide>
        <p15:guide id="29" orient="horz" pos="4016">
          <p15:clr>
            <a:srgbClr val="F26B43"/>
          </p15:clr>
        </p15:guide>
        <p15:guide id="30" orient="horz" pos="226">
          <p15:clr>
            <a:srgbClr val="F26B43"/>
          </p15:clr>
        </p15:guide>
        <p15:guide id="31" orient="horz" pos="540">
          <p15:clr>
            <a:srgbClr val="F26B43"/>
          </p15:clr>
        </p15:guide>
        <p15:guide id="32" orient="horz" pos="698">
          <p15:clr>
            <a:srgbClr val="F26B43"/>
          </p15:clr>
        </p15:guide>
        <p15:guide id="35" orient="horz" pos="1014">
          <p15:clr>
            <a:srgbClr val="F26B43"/>
          </p15:clr>
        </p15:guide>
        <p15:guide id="38" orient="horz" pos="385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hyperlink" Target="https://www.weather.gov/ama/heatindex" TargetMode="External"/><Relationship Id="rId3" Type="http://schemas.openxmlformats.org/officeDocument/2006/relationships/hyperlink" Target="https://www.nata.org/sites/default/files/externalheatillnesses.pdf" TargetMode="External"/><Relationship Id="rId7" Type="http://schemas.openxmlformats.org/officeDocument/2006/relationships/hyperlink" Target="https://www.canr.msu.edu/news/noaa-releases-updated-climate-summaries-for-all-u-s-states-what-will-happen-in-michigan"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hyperlink" Target="https://nccsir.unc.edu/wp-content/uploads/sites/5614/2022/05/Annual-Football-2021-Fatalities-FINAL-public-1.pdf" TargetMode="External"/><Relationship Id="rId5" Type="http://schemas.openxmlformats.org/officeDocument/2006/relationships/hyperlink" Target="https://ncaaorg.s3.amazonaws.com/ssi/injury_prev/SSI_PreventingCatastrophicInjuryBooklet.pdf" TargetMode="External"/><Relationship Id="rId10" Type="http://schemas.openxmlformats.org/officeDocument/2006/relationships/hyperlink" Target="https://www.ue.org/large-loss-report/" TargetMode="External"/><Relationship Id="rId4" Type="http://schemas.openxmlformats.org/officeDocument/2006/relationships/hyperlink" Target="https://www.mayoclinic.org/diseases-conditions/heat-stroke/symptoms-causes/syc-20353581" TargetMode="External"/><Relationship Id="rId9" Type="http://schemas.openxmlformats.org/officeDocument/2006/relationships/hyperlink" Target="https://journals.lww.com/acsm-csmr/fulltext/2021/09000/acsm_expert_consensus_statement_on_exertional_heat.10.aspx"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US" dirty="0" smtClean="0"/>
              <a:t>Heat Exposure on Campus</a:t>
            </a:r>
            <a:endParaRPr lang="en-US" dirty="0"/>
          </a:p>
        </p:txBody>
      </p:sp>
      <p:sp>
        <p:nvSpPr>
          <p:cNvPr id="8" name="Subtitle 7"/>
          <p:cNvSpPr>
            <a:spLocks noGrp="1"/>
          </p:cNvSpPr>
          <p:nvPr>
            <p:ph type="subTitle" idx="1"/>
          </p:nvPr>
        </p:nvSpPr>
        <p:spPr>
          <a:xfrm>
            <a:off x="448437" y="3557016"/>
            <a:ext cx="9310624" cy="788377"/>
          </a:xfrm>
        </p:spPr>
        <p:txBody>
          <a:bodyPr/>
          <a:lstStyle/>
          <a:p>
            <a:r>
              <a:rPr lang="en-US" dirty="0" smtClean="0"/>
              <a:t>An Increasing Issue</a:t>
            </a:r>
            <a:endParaRPr lang="en-US" dirty="0"/>
          </a:p>
        </p:txBody>
      </p:sp>
      <p:sp>
        <p:nvSpPr>
          <p:cNvPr id="9" name="Text Placeholder 8"/>
          <p:cNvSpPr>
            <a:spLocks noGrp="1"/>
          </p:cNvSpPr>
          <p:nvPr>
            <p:ph type="body" sz="half" idx="2"/>
          </p:nvPr>
        </p:nvSpPr>
        <p:spPr/>
        <p:txBody>
          <a:bodyPr/>
          <a:lstStyle/>
          <a:p>
            <a:pPr>
              <a:spcBef>
                <a:spcPct val="20000"/>
              </a:spcBef>
            </a:pPr>
            <a:r>
              <a:rPr lang="en-US" b="1" dirty="0">
                <a:solidFill>
                  <a:srgbClr val="FFFFFF"/>
                </a:solidFill>
              </a:rPr>
              <a:t>Cindy Smail, Loss Control Consultant</a:t>
            </a:r>
            <a:br>
              <a:rPr lang="en-US" b="1" dirty="0">
                <a:solidFill>
                  <a:srgbClr val="FFFFFF"/>
                </a:solidFill>
              </a:rPr>
            </a:br>
            <a:r>
              <a:rPr lang="en-US" b="1" dirty="0">
                <a:solidFill>
                  <a:srgbClr val="FFFFFF"/>
                </a:solidFill>
              </a:rPr>
              <a:t>Marsh A</a:t>
            </a:r>
            <a:r>
              <a:rPr lang="en-US" b="1" dirty="0" smtClean="0">
                <a:solidFill>
                  <a:srgbClr val="FFFFFF"/>
                </a:solidFill>
              </a:rPr>
              <a:t>dvisory</a:t>
            </a:r>
            <a:endParaRPr lang="en-US" dirty="0">
              <a:solidFill>
                <a:srgbClr val="FFFFFF"/>
              </a:solidFill>
            </a:endParaRPr>
          </a:p>
        </p:txBody>
      </p:sp>
      <p:pic>
        <p:nvPicPr>
          <p:cNvPr id="5" name="Picture 4" descr="Music 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221287" y="350933"/>
            <a:ext cx="3619644" cy="1109068"/>
          </a:xfrm>
          <a:prstGeom prst="rect">
            <a:avLst/>
          </a:prstGeom>
          <a:solidFill>
            <a:schemeClr val="bg1"/>
          </a:solidFill>
          <a:ln>
            <a:noFill/>
          </a:ln>
          <a:extLst/>
        </p:spPr>
      </p:pic>
    </p:spTree>
    <p:extLst>
      <p:ext uri="{BB962C8B-B14F-4D97-AF65-F5344CB8AC3E}">
        <p14:creationId xmlns:p14="http://schemas.microsoft.com/office/powerpoint/2010/main" val="246574503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reparation</a:t>
            </a:r>
            <a:endParaRPr lang="en-US" dirty="0"/>
          </a:p>
        </p:txBody>
      </p:sp>
      <p:graphicFrame>
        <p:nvGraphicFramePr>
          <p:cNvPr id="6" name="Diagram 5"/>
          <p:cNvGraphicFramePr/>
          <p:nvPr>
            <p:extLst>
              <p:ext uri="{D42A27DB-BD31-4B8C-83A1-F6EECF244321}">
                <p14:modId xmlns:p14="http://schemas.microsoft.com/office/powerpoint/2010/main" val="2522786127"/>
              </p:ext>
            </p:extLst>
          </p:nvPr>
        </p:nvGraphicFramePr>
        <p:xfrm>
          <a:off x="985651" y="1184564"/>
          <a:ext cx="10307783" cy="50974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943808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3208" y="0"/>
            <a:ext cx="4568792" cy="4941822"/>
          </a:xfrm>
          <a:prstGeom prst="rect">
            <a:avLst/>
          </a:prstGeom>
        </p:spPr>
      </p:pic>
      <p:sp>
        <p:nvSpPr>
          <p:cNvPr id="2" name="Text Placeholder 1"/>
          <p:cNvSpPr>
            <a:spLocks noGrp="1"/>
          </p:cNvSpPr>
          <p:nvPr>
            <p:ph type="body" sz="half" idx="10"/>
          </p:nvPr>
        </p:nvSpPr>
        <p:spPr/>
        <p:txBody>
          <a:bodyPr/>
          <a:lstStyle/>
          <a:p>
            <a:endParaRPr lang="en-US" dirty="0"/>
          </a:p>
        </p:txBody>
      </p:sp>
      <p:sp>
        <p:nvSpPr>
          <p:cNvPr id="3" name="Content Placeholder 2"/>
          <p:cNvSpPr>
            <a:spLocks noGrp="1"/>
          </p:cNvSpPr>
          <p:nvPr>
            <p:ph sz="quarter" idx="11"/>
          </p:nvPr>
        </p:nvSpPr>
        <p:spPr>
          <a:xfrm>
            <a:off x="485776" y="1449450"/>
            <a:ext cx="11223624" cy="4516692"/>
          </a:xfrm>
        </p:spPr>
        <p:txBody>
          <a:bodyPr/>
          <a:lstStyle/>
          <a:p>
            <a:pPr marL="285750" indent="-285750">
              <a:buFont typeface="Arial" panose="020B0604020202020204" pitchFamily="34" charset="0"/>
              <a:buChar char="•"/>
            </a:pPr>
            <a:r>
              <a:rPr lang="en-US" sz="2000" dirty="0" smtClean="0"/>
              <a:t>At risk activities and students</a:t>
            </a:r>
          </a:p>
          <a:p>
            <a:pPr marL="285750" indent="-285750">
              <a:buFont typeface="Arial" panose="020B0604020202020204" pitchFamily="34" charset="0"/>
              <a:buChar char="•"/>
            </a:pPr>
            <a:r>
              <a:rPr lang="en-US" sz="2000" dirty="0" smtClean="0"/>
              <a:t>Preventing and managing heat illness policy and procedures </a:t>
            </a:r>
          </a:p>
          <a:p>
            <a:pPr marL="285750" indent="-285750">
              <a:buFont typeface="Arial" panose="020B0604020202020204" pitchFamily="34" charset="0"/>
              <a:buChar char="•"/>
            </a:pPr>
            <a:r>
              <a:rPr lang="en-US" sz="2000" dirty="0" smtClean="0"/>
              <a:t>Predisposing factors – environmental, individual factors, medications and drugs, health conditions, behavioral factors</a:t>
            </a:r>
          </a:p>
          <a:p>
            <a:pPr marL="285750" indent="-285750">
              <a:buFont typeface="Arial" panose="020B0604020202020204" pitchFamily="34" charset="0"/>
              <a:buChar char="•"/>
            </a:pPr>
            <a:r>
              <a:rPr lang="en-US" sz="2000" dirty="0" smtClean="0"/>
              <a:t>Heat exposure signs and symptoms </a:t>
            </a:r>
          </a:p>
          <a:p>
            <a:pPr marL="285750" indent="-285750">
              <a:buFont typeface="Arial" panose="020B0604020202020204" pitchFamily="34" charset="0"/>
              <a:buChar char="•"/>
            </a:pPr>
            <a:r>
              <a:rPr lang="en-US" sz="2000" dirty="0" smtClean="0"/>
              <a:t>Rapid recognition</a:t>
            </a:r>
          </a:p>
          <a:p>
            <a:pPr marL="285750" indent="-285750">
              <a:buFont typeface="Arial" panose="020B0604020202020204" pitchFamily="34" charset="0"/>
              <a:buChar char="•"/>
            </a:pPr>
            <a:r>
              <a:rPr lang="en-US" sz="2000" dirty="0" smtClean="0"/>
              <a:t>Emergency action plans – plans for erratic weather, assessment of vital signs, </a:t>
            </a:r>
            <a:r>
              <a:rPr lang="en-US" sz="2000" dirty="0"/>
              <a:t>rapid </a:t>
            </a:r>
            <a:r>
              <a:rPr lang="en-US" sz="2000" dirty="0" smtClean="0"/>
              <a:t>cooling, emergency medical treatment, arrangements for remote locations</a:t>
            </a:r>
          </a:p>
          <a:p>
            <a:pPr marL="285750" indent="-285750">
              <a:buFont typeface="Arial" panose="020B0604020202020204" pitchFamily="34" charset="0"/>
              <a:buChar char="•"/>
            </a:pPr>
            <a:r>
              <a:rPr lang="en-US" sz="2000" dirty="0" smtClean="0"/>
              <a:t>Return to activity</a:t>
            </a:r>
            <a:endParaRPr lang="en-US" sz="2000" dirty="0"/>
          </a:p>
        </p:txBody>
      </p:sp>
      <p:sp>
        <p:nvSpPr>
          <p:cNvPr id="4" name="Title 3"/>
          <p:cNvSpPr>
            <a:spLocks noGrp="1"/>
          </p:cNvSpPr>
          <p:nvPr>
            <p:ph type="title"/>
          </p:nvPr>
        </p:nvSpPr>
        <p:spPr/>
        <p:txBody>
          <a:bodyPr/>
          <a:lstStyle/>
          <a:p>
            <a:r>
              <a:rPr lang="en-US" dirty="0" smtClean="0"/>
              <a:t>Education Points</a:t>
            </a:r>
            <a:endParaRPr lang="en-US" dirty="0"/>
          </a:p>
        </p:txBody>
      </p:sp>
      <p:sp>
        <p:nvSpPr>
          <p:cNvPr id="5" name="Text Placeholder 4"/>
          <p:cNvSpPr>
            <a:spLocks noGrp="1"/>
          </p:cNvSpPr>
          <p:nvPr>
            <p:ph type="body" sz="half" idx="2"/>
          </p:nvPr>
        </p:nvSpPr>
        <p:spPr/>
        <p:txBody>
          <a:bodyPr/>
          <a:lstStyle/>
          <a:p>
            <a:endParaRPr lang="en-US" dirty="0"/>
          </a:p>
        </p:txBody>
      </p:sp>
    </p:spTree>
    <p:extLst>
      <p:ext uri="{BB962C8B-B14F-4D97-AF65-F5344CB8AC3E}">
        <p14:creationId xmlns:p14="http://schemas.microsoft.com/office/powerpoint/2010/main" val="183496341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dirty="0"/>
          </a:p>
        </p:txBody>
      </p:sp>
      <p:sp>
        <p:nvSpPr>
          <p:cNvPr id="3" name="Content Placeholder 2"/>
          <p:cNvSpPr>
            <a:spLocks noGrp="1"/>
          </p:cNvSpPr>
          <p:nvPr>
            <p:ph sz="quarter" idx="11"/>
          </p:nvPr>
        </p:nvSpPr>
        <p:spPr>
          <a:xfrm>
            <a:off x="485776" y="1311150"/>
            <a:ext cx="11223624" cy="4891083"/>
          </a:xfrm>
        </p:spPr>
        <p:txBody>
          <a:bodyPr/>
          <a:lstStyle/>
          <a:p>
            <a:pPr marL="285750" indent="-285750">
              <a:spcBef>
                <a:spcPts val="600"/>
              </a:spcBef>
              <a:spcAft>
                <a:spcPts val="0"/>
              </a:spcAft>
              <a:buFont typeface="Wingdings" panose="05000000000000000000" pitchFamily="2" charset="2"/>
              <a:buChar char="q"/>
            </a:pPr>
            <a:r>
              <a:rPr lang="en-US" sz="1600" dirty="0" smtClean="0"/>
              <a:t>Are there unsafe rules (ability </a:t>
            </a:r>
            <a:r>
              <a:rPr lang="en-US" sz="1600" dirty="0"/>
              <a:t>to receive fluids, modify game and practice times</a:t>
            </a:r>
            <a:r>
              <a:rPr lang="en-US" sz="1600" dirty="0" smtClean="0"/>
              <a:t>)?</a:t>
            </a:r>
          </a:p>
          <a:p>
            <a:pPr marL="285750" indent="-285750">
              <a:spcBef>
                <a:spcPts val="600"/>
              </a:spcBef>
              <a:spcAft>
                <a:spcPts val="0"/>
              </a:spcAft>
              <a:buFont typeface="Wingdings" panose="05000000000000000000" pitchFamily="2" charset="2"/>
              <a:buChar char="q"/>
            </a:pPr>
            <a:r>
              <a:rPr lang="en-US" sz="1600" dirty="0" smtClean="0"/>
              <a:t>Are participants encouraged to drink before and during exertion?</a:t>
            </a:r>
          </a:p>
          <a:p>
            <a:pPr marL="285750" indent="-285750">
              <a:spcBef>
                <a:spcPts val="600"/>
              </a:spcBef>
              <a:spcAft>
                <a:spcPts val="0"/>
              </a:spcAft>
              <a:buFont typeface="Wingdings" panose="05000000000000000000" pitchFamily="2" charset="2"/>
              <a:buChar char="q"/>
            </a:pPr>
            <a:r>
              <a:rPr lang="en-US" sz="1600" dirty="0" smtClean="0"/>
              <a:t>Which participants </a:t>
            </a:r>
            <a:r>
              <a:rPr lang="en-US" sz="1600" dirty="0"/>
              <a:t>have a history of a heat </a:t>
            </a:r>
            <a:r>
              <a:rPr lang="en-US" sz="1600" dirty="0" smtClean="0"/>
              <a:t>illness or contributing factors?</a:t>
            </a:r>
          </a:p>
          <a:p>
            <a:pPr marL="285750" indent="-285750">
              <a:spcBef>
                <a:spcPts val="600"/>
              </a:spcBef>
              <a:spcAft>
                <a:spcPts val="0"/>
              </a:spcAft>
              <a:buFont typeface="Wingdings" panose="05000000000000000000" pitchFamily="2" charset="2"/>
              <a:buChar char="q"/>
            </a:pPr>
            <a:r>
              <a:rPr lang="en-US" sz="1600" dirty="0" smtClean="0"/>
              <a:t>Are alcohol</a:t>
            </a:r>
            <a:r>
              <a:rPr lang="en-US" sz="1600" dirty="0"/>
              <a:t>, caffeine, and drug </a:t>
            </a:r>
            <a:r>
              <a:rPr lang="en-US" sz="1600" dirty="0" smtClean="0"/>
              <a:t>use discouraged? </a:t>
            </a:r>
          </a:p>
          <a:p>
            <a:pPr marL="285750" indent="-285750">
              <a:spcBef>
                <a:spcPts val="600"/>
              </a:spcBef>
              <a:spcAft>
                <a:spcPts val="0"/>
              </a:spcAft>
              <a:buFont typeface="Wingdings" panose="05000000000000000000" pitchFamily="2" charset="2"/>
              <a:buChar char="q"/>
            </a:pPr>
            <a:r>
              <a:rPr lang="en-US" sz="1600" dirty="0" smtClean="0"/>
              <a:t>Are fluids available (water and carbohydrate-electrolyte drinks)?</a:t>
            </a:r>
          </a:p>
          <a:p>
            <a:pPr marL="285750" indent="-285750">
              <a:spcBef>
                <a:spcPts val="600"/>
              </a:spcBef>
              <a:spcAft>
                <a:spcPts val="0"/>
              </a:spcAft>
              <a:buFont typeface="Wingdings" panose="05000000000000000000" pitchFamily="2" charset="2"/>
              <a:buChar char="q"/>
            </a:pPr>
            <a:r>
              <a:rPr lang="en-US" sz="1600" dirty="0" smtClean="0"/>
              <a:t>Are conditioning </a:t>
            </a:r>
            <a:r>
              <a:rPr lang="en-US" sz="1600" dirty="0"/>
              <a:t>and acclimatization </a:t>
            </a:r>
            <a:r>
              <a:rPr lang="en-US" sz="1600" dirty="0" smtClean="0"/>
              <a:t>practices in place? </a:t>
            </a:r>
          </a:p>
          <a:p>
            <a:pPr marL="285750" indent="-285750">
              <a:spcBef>
                <a:spcPts val="600"/>
              </a:spcBef>
              <a:spcAft>
                <a:spcPts val="0"/>
              </a:spcAft>
              <a:buFont typeface="Wingdings" panose="05000000000000000000" pitchFamily="2" charset="2"/>
              <a:buChar char="q"/>
            </a:pPr>
            <a:r>
              <a:rPr lang="en-US" sz="1600" dirty="0" smtClean="0"/>
              <a:t>Is the temperature and humidity being monitored?</a:t>
            </a:r>
          </a:p>
          <a:p>
            <a:pPr marL="285750" indent="-285750">
              <a:spcBef>
                <a:spcPts val="600"/>
              </a:spcBef>
              <a:spcAft>
                <a:spcPts val="0"/>
              </a:spcAft>
              <a:buFont typeface="Wingdings" panose="05000000000000000000" pitchFamily="2" charset="2"/>
              <a:buChar char="q"/>
            </a:pPr>
            <a:r>
              <a:rPr lang="en-US" sz="1600" dirty="0" smtClean="0"/>
              <a:t>Are alternate plans made if there are risky conditions that force rescheduling? </a:t>
            </a:r>
          </a:p>
          <a:p>
            <a:pPr marL="285750" indent="-285750">
              <a:spcBef>
                <a:spcPts val="600"/>
              </a:spcBef>
              <a:spcAft>
                <a:spcPts val="0"/>
              </a:spcAft>
              <a:buFont typeface="Wingdings" panose="05000000000000000000" pitchFamily="2" charset="2"/>
              <a:buChar char="q"/>
            </a:pPr>
            <a:r>
              <a:rPr lang="en-US" sz="1600" dirty="0" smtClean="0"/>
              <a:t>Are on-site leaders and participants educated </a:t>
            </a:r>
            <a:r>
              <a:rPr lang="en-US" sz="1600" dirty="0"/>
              <a:t>about the signs and symptoms of heat illnesses? </a:t>
            </a:r>
            <a:endParaRPr lang="en-US" sz="1600" dirty="0" smtClean="0"/>
          </a:p>
          <a:p>
            <a:pPr marL="285750" indent="-285750">
              <a:spcBef>
                <a:spcPts val="600"/>
              </a:spcBef>
              <a:spcAft>
                <a:spcPts val="0"/>
              </a:spcAft>
              <a:buFont typeface="Wingdings" panose="05000000000000000000" pitchFamily="2" charset="2"/>
              <a:buChar char="q"/>
            </a:pPr>
            <a:r>
              <a:rPr lang="en-US" sz="1600" dirty="0" smtClean="0"/>
              <a:t>Are </a:t>
            </a:r>
            <a:r>
              <a:rPr lang="en-US" sz="1600" dirty="0"/>
              <a:t>modifications being made to reduce risk in the heat </a:t>
            </a:r>
            <a:r>
              <a:rPr lang="en-US" sz="1600" dirty="0" smtClean="0"/>
              <a:t>(e.g., </a:t>
            </a:r>
            <a:r>
              <a:rPr lang="en-US" sz="1600" dirty="0"/>
              <a:t>decrease intensity, change </a:t>
            </a:r>
            <a:r>
              <a:rPr lang="en-US" sz="1600" dirty="0" smtClean="0"/>
              <a:t>event </a:t>
            </a:r>
            <a:r>
              <a:rPr lang="en-US" sz="1600" dirty="0"/>
              <a:t>times, allow more frequent breaks, eliminate double sessions, reduce or change equipment or clothing requirements, </a:t>
            </a:r>
            <a:r>
              <a:rPr lang="en-US" sz="1600" dirty="0" smtClean="0"/>
              <a:t>etc.)? </a:t>
            </a:r>
          </a:p>
          <a:p>
            <a:pPr marL="285750" indent="-285750">
              <a:spcBef>
                <a:spcPts val="600"/>
              </a:spcBef>
              <a:spcAft>
                <a:spcPts val="0"/>
              </a:spcAft>
              <a:buFont typeface="Wingdings" panose="05000000000000000000" pitchFamily="2" charset="2"/>
              <a:buChar char="q"/>
            </a:pPr>
            <a:r>
              <a:rPr lang="en-US" sz="1600" dirty="0" smtClean="0"/>
              <a:t>Are proper </a:t>
            </a:r>
            <a:r>
              <a:rPr lang="en-US" sz="1600" dirty="0"/>
              <a:t>field equipment and skills </a:t>
            </a:r>
            <a:r>
              <a:rPr lang="en-US" sz="1600" dirty="0" smtClean="0"/>
              <a:t>readily available to </a:t>
            </a:r>
            <a:r>
              <a:rPr lang="en-US" sz="1600" dirty="0"/>
              <a:t>assess a heat illness</a:t>
            </a:r>
            <a:r>
              <a:rPr lang="en-US" sz="1600" dirty="0" smtClean="0"/>
              <a:t>?</a:t>
            </a:r>
          </a:p>
          <a:p>
            <a:pPr marL="285750" indent="-285750">
              <a:spcBef>
                <a:spcPts val="600"/>
              </a:spcBef>
              <a:spcAft>
                <a:spcPts val="0"/>
              </a:spcAft>
              <a:buFont typeface="Wingdings" panose="05000000000000000000" pitchFamily="2" charset="2"/>
              <a:buChar char="q"/>
            </a:pPr>
            <a:r>
              <a:rPr lang="en-US" sz="1600" dirty="0" smtClean="0"/>
              <a:t>Is </a:t>
            </a:r>
            <a:r>
              <a:rPr lang="en-US" sz="1600" dirty="0"/>
              <a:t>an emergency plan in place in case an immediate evacuation is needed</a:t>
            </a:r>
            <a:r>
              <a:rPr lang="en-US" sz="1600" dirty="0" smtClean="0"/>
              <a:t>?</a:t>
            </a:r>
          </a:p>
          <a:p>
            <a:pPr marL="285750" indent="-285750">
              <a:spcBef>
                <a:spcPts val="600"/>
              </a:spcBef>
              <a:spcAft>
                <a:spcPts val="0"/>
              </a:spcAft>
              <a:buFont typeface="Wingdings" panose="05000000000000000000" pitchFamily="2" charset="2"/>
              <a:buChar char="q"/>
            </a:pPr>
            <a:r>
              <a:rPr lang="en-US" sz="1600" dirty="0" smtClean="0"/>
              <a:t>What emergency cooling resources are available (cold-water immersion, ice, air-conditioned</a:t>
            </a:r>
            <a:r>
              <a:rPr lang="en-US" sz="1600" dirty="0"/>
              <a:t>, </a:t>
            </a:r>
            <a:r>
              <a:rPr lang="en-US" sz="1600" dirty="0" smtClean="0"/>
              <a:t>cool areas, fans, etc.)?</a:t>
            </a:r>
          </a:p>
          <a:p>
            <a:pPr marL="285750" indent="-285750">
              <a:spcBef>
                <a:spcPts val="600"/>
              </a:spcBef>
              <a:spcAft>
                <a:spcPts val="0"/>
              </a:spcAft>
              <a:buFont typeface="Wingdings" panose="05000000000000000000" pitchFamily="2" charset="2"/>
              <a:buChar char="q"/>
            </a:pPr>
            <a:r>
              <a:rPr lang="en-US" sz="1600" dirty="0" smtClean="0"/>
              <a:t>What other </a:t>
            </a:r>
            <a:r>
              <a:rPr lang="en-US" sz="1600" dirty="0"/>
              <a:t>situation-specific </a:t>
            </a:r>
            <a:r>
              <a:rPr lang="en-US" sz="1600" dirty="0" smtClean="0"/>
              <a:t>considerations should be considered?</a:t>
            </a:r>
            <a:endParaRPr lang="en-US" sz="1600" dirty="0"/>
          </a:p>
        </p:txBody>
      </p:sp>
      <p:sp>
        <p:nvSpPr>
          <p:cNvPr id="4" name="Title 3"/>
          <p:cNvSpPr>
            <a:spLocks noGrp="1"/>
          </p:cNvSpPr>
          <p:nvPr>
            <p:ph type="title"/>
          </p:nvPr>
        </p:nvSpPr>
        <p:spPr/>
        <p:txBody>
          <a:bodyPr/>
          <a:lstStyle/>
          <a:p>
            <a:r>
              <a:rPr lang="en-US" dirty="0" smtClean="0"/>
              <a:t>Prep Questions to Ask</a:t>
            </a:r>
            <a:endParaRPr lang="en-US" dirty="0"/>
          </a:p>
        </p:txBody>
      </p:sp>
      <p:sp>
        <p:nvSpPr>
          <p:cNvPr id="5" name="Text Placeholder 4"/>
          <p:cNvSpPr>
            <a:spLocks noGrp="1"/>
          </p:cNvSpPr>
          <p:nvPr>
            <p:ph type="body" sz="half" idx="2"/>
          </p:nvPr>
        </p:nvSpPr>
        <p:spPr/>
        <p:txBody>
          <a:bodyPr/>
          <a:lstStyle/>
          <a:p>
            <a:endParaRPr lang="en-US" dirty="0"/>
          </a:p>
        </p:txBody>
      </p:sp>
    </p:spTree>
    <p:extLst>
      <p:ext uri="{BB962C8B-B14F-4D97-AF65-F5344CB8AC3E}">
        <p14:creationId xmlns:p14="http://schemas.microsoft.com/office/powerpoint/2010/main" val="317749327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a:xfrm>
            <a:off x="485776" y="1326837"/>
            <a:ext cx="11223624" cy="4672397"/>
          </a:xfrm>
        </p:spPr>
        <p:txBody>
          <a:bodyPr/>
          <a:lstStyle/>
          <a:p>
            <a:pPr marL="285750" indent="-285750">
              <a:buFont typeface="Arial" panose="020B0604020202020204" pitchFamily="34" charset="0"/>
              <a:buChar char="•"/>
            </a:pPr>
            <a:r>
              <a:rPr lang="en-US" sz="2400" dirty="0" smtClean="0"/>
              <a:t>Understand </a:t>
            </a:r>
            <a:r>
              <a:rPr lang="en-US" sz="2400" dirty="0" smtClean="0">
                <a:solidFill>
                  <a:schemeClr val="accent1"/>
                </a:solidFill>
                <a:latin typeface="Arial Black" panose="020B0A04020102020204" pitchFamily="34" charset="0"/>
              </a:rPr>
              <a:t>at-risk</a:t>
            </a:r>
            <a:r>
              <a:rPr lang="en-US" sz="2400" dirty="0" smtClean="0"/>
              <a:t> activities and students</a:t>
            </a:r>
          </a:p>
          <a:p>
            <a:pPr marL="285750" indent="-285750">
              <a:buFont typeface="Arial" panose="020B0604020202020204" pitchFamily="34" charset="0"/>
              <a:buChar char="•"/>
            </a:pPr>
            <a:r>
              <a:rPr lang="en-US" sz="2400" dirty="0"/>
              <a:t>Preventing and managing heat illness </a:t>
            </a:r>
            <a:r>
              <a:rPr lang="en-US" sz="2800" b="1" dirty="0">
                <a:solidFill>
                  <a:schemeClr val="accent1"/>
                </a:solidFill>
                <a:latin typeface="Modern No. 20" panose="02070704070505020303" pitchFamily="18" charset="0"/>
              </a:rPr>
              <a:t>policy and procedures </a:t>
            </a:r>
          </a:p>
          <a:p>
            <a:pPr marL="285750" indent="-285750">
              <a:buFont typeface="Arial" panose="020B0604020202020204" pitchFamily="34" charset="0"/>
              <a:buChar char="•"/>
            </a:pPr>
            <a:r>
              <a:rPr lang="en-US" sz="2400" dirty="0">
                <a:solidFill>
                  <a:schemeClr val="accent1"/>
                </a:solidFill>
                <a:latin typeface="Stencil" panose="040409050D0802020404" pitchFamily="82" charset="0"/>
              </a:rPr>
              <a:t>Predisposing factors </a:t>
            </a:r>
            <a:r>
              <a:rPr lang="en-US" sz="2400" dirty="0"/>
              <a:t>– environmental, </a:t>
            </a:r>
            <a:r>
              <a:rPr lang="en-US" sz="2400" dirty="0" smtClean="0"/>
              <a:t>individual, </a:t>
            </a:r>
            <a:r>
              <a:rPr lang="en-US" sz="2400" dirty="0"/>
              <a:t>medications and drugs, health conditions, </a:t>
            </a:r>
            <a:r>
              <a:rPr lang="en-US" sz="2400" dirty="0" smtClean="0"/>
              <a:t>behavioral</a:t>
            </a:r>
            <a:endParaRPr lang="en-US" sz="2400" dirty="0"/>
          </a:p>
          <a:p>
            <a:pPr marL="285750" indent="-285750">
              <a:buFont typeface="Arial" panose="020B0604020202020204" pitchFamily="34" charset="0"/>
              <a:buChar char="•"/>
            </a:pPr>
            <a:r>
              <a:rPr lang="en-US" sz="2400" dirty="0"/>
              <a:t>Heat exposure </a:t>
            </a:r>
            <a:r>
              <a:rPr lang="en-US" sz="2400" b="1" dirty="0">
                <a:solidFill>
                  <a:schemeClr val="accent1"/>
                </a:solidFill>
                <a:latin typeface="MV Boli" panose="02000500030200090000" pitchFamily="2" charset="0"/>
                <a:cs typeface="MV Boli" panose="02000500030200090000" pitchFamily="2" charset="0"/>
              </a:rPr>
              <a:t>signs and symptoms </a:t>
            </a:r>
          </a:p>
          <a:p>
            <a:pPr marL="285750" indent="-285750">
              <a:buFont typeface="Arial" panose="020B0604020202020204" pitchFamily="34" charset="0"/>
              <a:buChar char="•"/>
            </a:pPr>
            <a:r>
              <a:rPr lang="en-US" sz="2400" b="1" dirty="0" smtClean="0">
                <a:solidFill>
                  <a:schemeClr val="accent1"/>
                </a:solidFill>
                <a:latin typeface="Lucida Handwriting" panose="03010101010101010101" pitchFamily="66" charset="0"/>
              </a:rPr>
              <a:t>Rapid</a:t>
            </a:r>
            <a:r>
              <a:rPr lang="en-US" sz="2400" dirty="0" smtClean="0"/>
              <a:t>  recognition</a:t>
            </a:r>
          </a:p>
          <a:p>
            <a:pPr marL="285750" indent="-285750">
              <a:buFont typeface="Arial" panose="020B0604020202020204" pitchFamily="34" charset="0"/>
              <a:buChar char="•"/>
            </a:pPr>
            <a:r>
              <a:rPr lang="en-US" sz="2600" b="1" dirty="0">
                <a:solidFill>
                  <a:schemeClr val="accent1"/>
                </a:solidFill>
                <a:latin typeface="Poor Richard" panose="02080502050505020702" pitchFamily="18" charset="0"/>
              </a:rPr>
              <a:t>Emergency action </a:t>
            </a:r>
            <a:r>
              <a:rPr lang="en-US" sz="2400" dirty="0" smtClean="0"/>
              <a:t>– vital sign assessment, </a:t>
            </a:r>
            <a:r>
              <a:rPr lang="en-US" sz="2400" dirty="0"/>
              <a:t>rapid cooling, emergency </a:t>
            </a:r>
            <a:r>
              <a:rPr lang="en-US" sz="2400" dirty="0" smtClean="0"/>
              <a:t>treatment</a:t>
            </a:r>
            <a:endParaRPr lang="en-US" sz="2400" dirty="0"/>
          </a:p>
          <a:p>
            <a:pPr marL="285750" indent="-285750">
              <a:buFont typeface="Arial" panose="020B0604020202020204" pitchFamily="34" charset="0"/>
              <a:buChar char="•"/>
            </a:pPr>
            <a:r>
              <a:rPr lang="en-US" sz="2400" b="1" dirty="0" smtClean="0">
                <a:solidFill>
                  <a:schemeClr val="accent1"/>
                </a:solidFill>
                <a:latin typeface="Berlin Sans FB Demi" panose="020E0802020502020306" pitchFamily="34" charset="0"/>
              </a:rPr>
              <a:t>Return</a:t>
            </a:r>
            <a:r>
              <a:rPr lang="en-US" sz="2400" dirty="0" smtClean="0"/>
              <a:t> to activity direction</a:t>
            </a:r>
          </a:p>
          <a:p>
            <a:endParaRPr lang="en-US" dirty="0"/>
          </a:p>
        </p:txBody>
      </p:sp>
      <p:sp>
        <p:nvSpPr>
          <p:cNvPr id="4" name="Title 3"/>
          <p:cNvSpPr>
            <a:spLocks noGrp="1"/>
          </p:cNvSpPr>
          <p:nvPr>
            <p:ph type="title"/>
          </p:nvPr>
        </p:nvSpPr>
        <p:spPr/>
        <p:txBody>
          <a:bodyPr/>
          <a:lstStyle/>
          <a:p>
            <a:r>
              <a:rPr lang="en-US" dirty="0" smtClean="0"/>
              <a:t>Education</a:t>
            </a:r>
            <a:endParaRPr lang="en-US" dirty="0"/>
          </a:p>
        </p:txBody>
      </p:sp>
      <p:sp>
        <p:nvSpPr>
          <p:cNvPr id="2" name="Text Placeholder 1"/>
          <p:cNvSpPr>
            <a:spLocks noGrp="1"/>
          </p:cNvSpPr>
          <p:nvPr>
            <p:ph type="body" sz="half" idx="2"/>
          </p:nvPr>
        </p:nvSpPr>
        <p:spPr/>
        <p:txBody>
          <a:bodyPr/>
          <a:lstStyle/>
          <a:p>
            <a:endParaRPr lang="en-US" dirty="0"/>
          </a:p>
        </p:txBody>
      </p:sp>
    </p:spTree>
    <p:extLst>
      <p:ext uri="{BB962C8B-B14F-4D97-AF65-F5344CB8AC3E}">
        <p14:creationId xmlns:p14="http://schemas.microsoft.com/office/powerpoint/2010/main" val="9619150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9266" name="Picture 2" descr="See the source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6784" y="269507"/>
            <a:ext cx="11522513" cy="5968337"/>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1"/>
          <p:cNvSpPr>
            <a:spLocks noGrp="1"/>
          </p:cNvSpPr>
          <p:nvPr>
            <p:ph type="body" sz="half" idx="10"/>
          </p:nvPr>
        </p:nvSpPr>
        <p:spPr/>
        <p:txBody>
          <a:bodyPr/>
          <a:lstStyle/>
          <a:p>
            <a:endParaRPr lang="en-US" dirty="0"/>
          </a:p>
        </p:txBody>
      </p:sp>
      <p:sp>
        <p:nvSpPr>
          <p:cNvPr id="3" name="Content Placeholder 2"/>
          <p:cNvSpPr>
            <a:spLocks noGrp="1"/>
          </p:cNvSpPr>
          <p:nvPr>
            <p:ph sz="quarter" idx="11"/>
          </p:nvPr>
        </p:nvSpPr>
        <p:spPr>
          <a:xfrm>
            <a:off x="593154" y="507325"/>
            <a:ext cx="10719130" cy="5492699"/>
          </a:xfrm>
        </p:spPr>
        <p:txBody>
          <a:bodyPr/>
          <a:lstStyle/>
          <a:p>
            <a:pPr algn="ctr"/>
            <a:r>
              <a:rPr lang="en-US" sz="3000" dirty="0" smtClean="0">
                <a:solidFill>
                  <a:schemeClr val="bg1"/>
                </a:solidFill>
                <a:latin typeface="MV Boli" panose="02000500030200090000" pitchFamily="2" charset="0"/>
                <a:cs typeface="MV Boli" panose="02000500030200090000" pitchFamily="2" charset="0"/>
              </a:rPr>
              <a:t>NEXT STEPS</a:t>
            </a:r>
          </a:p>
          <a:p>
            <a:pPr marL="457200" indent="-457200">
              <a:buFont typeface="+mj-lt"/>
              <a:buAutoNum type="arabicPeriod"/>
            </a:pPr>
            <a:r>
              <a:rPr lang="en-US" sz="2400" dirty="0">
                <a:solidFill>
                  <a:schemeClr val="bg1"/>
                </a:solidFill>
                <a:latin typeface="MV Boli" panose="02000500030200090000" pitchFamily="2" charset="0"/>
                <a:cs typeface="MV Boli" panose="02000500030200090000" pitchFamily="2" charset="0"/>
              </a:rPr>
              <a:t>Determine areas of concern</a:t>
            </a:r>
          </a:p>
          <a:p>
            <a:pPr marL="457200" indent="-457200">
              <a:buFont typeface="+mj-lt"/>
              <a:buAutoNum type="arabicPeriod"/>
            </a:pPr>
            <a:r>
              <a:rPr lang="en-US" sz="2400" dirty="0" smtClean="0">
                <a:solidFill>
                  <a:schemeClr val="bg1"/>
                </a:solidFill>
                <a:latin typeface="MV Boli" panose="02000500030200090000" pitchFamily="2" charset="0"/>
                <a:cs typeface="MV Boli" panose="02000500030200090000" pitchFamily="2" charset="0"/>
              </a:rPr>
              <a:t>Increase knowledge of heat exposure risks, especially in non-athletics areas that don’t already have guidelines</a:t>
            </a:r>
          </a:p>
          <a:p>
            <a:pPr marL="457200" indent="-457200">
              <a:buFont typeface="+mj-lt"/>
              <a:buAutoNum type="arabicPeriod"/>
            </a:pPr>
            <a:r>
              <a:rPr lang="en-US" sz="2400" dirty="0" smtClean="0">
                <a:solidFill>
                  <a:schemeClr val="bg1"/>
                </a:solidFill>
                <a:latin typeface="MV Boli" panose="02000500030200090000" pitchFamily="2" charset="0"/>
                <a:cs typeface="MV Boli" panose="02000500030200090000" pitchFamily="2" charset="0"/>
              </a:rPr>
              <a:t>Implement heat exposure policies and procedures</a:t>
            </a:r>
          </a:p>
          <a:p>
            <a:pPr marL="457200" indent="-457200">
              <a:buFont typeface="+mj-lt"/>
              <a:buAutoNum type="arabicPeriod"/>
            </a:pPr>
            <a:r>
              <a:rPr lang="en-US" sz="2400" dirty="0" smtClean="0">
                <a:solidFill>
                  <a:schemeClr val="bg1"/>
                </a:solidFill>
                <a:latin typeface="MV Boli" panose="02000500030200090000" pitchFamily="2" charset="0"/>
                <a:cs typeface="MV Boli" panose="02000500030200090000" pitchFamily="2" charset="0"/>
              </a:rPr>
              <a:t>Educate responsible parties and participants of the risk, preventative actions, signs and symptoms of exposure and emergency response</a:t>
            </a:r>
          </a:p>
          <a:p>
            <a:pPr marL="457200" indent="-457200">
              <a:buFont typeface="+mj-lt"/>
              <a:buAutoNum type="arabicPeriod"/>
            </a:pPr>
            <a:r>
              <a:rPr lang="en-US" sz="2400" dirty="0" smtClean="0">
                <a:solidFill>
                  <a:schemeClr val="bg1"/>
                </a:solidFill>
                <a:latin typeface="MV Boli" panose="02000500030200090000" pitchFamily="2" charset="0"/>
                <a:cs typeface="MV Boli" panose="02000500030200090000" pitchFamily="2" charset="0"/>
              </a:rPr>
              <a:t>Set up monitoring needed</a:t>
            </a:r>
          </a:p>
          <a:p>
            <a:pPr marL="457200" indent="-457200">
              <a:buFont typeface="+mj-lt"/>
              <a:buAutoNum type="arabicPeriod"/>
            </a:pPr>
            <a:r>
              <a:rPr lang="en-US" sz="2400" dirty="0" smtClean="0">
                <a:solidFill>
                  <a:schemeClr val="bg1"/>
                </a:solidFill>
                <a:latin typeface="MV Boli" panose="02000500030200090000" pitchFamily="2" charset="0"/>
                <a:cs typeface="MV Boli" panose="02000500030200090000" pitchFamily="2" charset="0"/>
              </a:rPr>
              <a:t>Determine emergency action needs and available resources</a:t>
            </a:r>
          </a:p>
          <a:p>
            <a:pPr marL="285750" indent="-285750">
              <a:buFont typeface="Arial" panose="020B0604020202020204" pitchFamily="34" charset="0"/>
              <a:buChar char="•"/>
            </a:pPr>
            <a:endParaRPr lang="en-US" dirty="0" smtClean="0">
              <a:solidFill>
                <a:schemeClr val="bg1"/>
              </a:solidFill>
              <a:latin typeface="MV Boli" panose="02000500030200090000" pitchFamily="2" charset="0"/>
              <a:cs typeface="MV Boli" panose="02000500030200090000" pitchFamily="2" charset="0"/>
            </a:endParaRPr>
          </a:p>
          <a:p>
            <a:pPr marL="285750" indent="-285750">
              <a:buFont typeface="Arial" panose="020B0604020202020204" pitchFamily="34" charset="0"/>
              <a:buChar char="•"/>
            </a:pPr>
            <a:endParaRPr lang="en-US" dirty="0" smtClean="0">
              <a:solidFill>
                <a:schemeClr val="bg1"/>
              </a:solidFill>
              <a:latin typeface="MV Boli" panose="02000500030200090000" pitchFamily="2" charset="0"/>
              <a:cs typeface="MV Boli" panose="02000500030200090000" pitchFamily="2" charset="0"/>
            </a:endParaRPr>
          </a:p>
          <a:p>
            <a:pPr marL="285750" indent="-285750">
              <a:buFont typeface="Arial" panose="020B0604020202020204" pitchFamily="34" charset="0"/>
              <a:buChar char="•"/>
            </a:pPr>
            <a:endParaRPr lang="en-US" dirty="0" smtClean="0">
              <a:solidFill>
                <a:schemeClr val="bg1"/>
              </a:solidFill>
              <a:latin typeface="MV Boli" panose="02000500030200090000" pitchFamily="2" charset="0"/>
              <a:cs typeface="MV Boli" panose="02000500030200090000" pitchFamily="2" charset="0"/>
            </a:endParaRPr>
          </a:p>
          <a:p>
            <a:pPr marL="285750" indent="-285750">
              <a:buFont typeface="Arial" panose="020B0604020202020204" pitchFamily="34" charset="0"/>
              <a:buChar char="•"/>
            </a:pPr>
            <a:endParaRPr lang="en-US" dirty="0">
              <a:solidFill>
                <a:schemeClr val="bg1"/>
              </a:solidFill>
              <a:latin typeface="MV Boli" panose="02000500030200090000" pitchFamily="2" charset="0"/>
              <a:cs typeface="MV Boli" panose="02000500030200090000" pitchFamily="2" charset="0"/>
            </a:endParaRPr>
          </a:p>
          <a:p>
            <a:endParaRPr lang="en-US" sz="1400" dirty="0">
              <a:solidFill>
                <a:schemeClr val="accent1"/>
              </a:solidFill>
            </a:endParaRPr>
          </a:p>
          <a:p>
            <a:endParaRPr lang="en-US" sz="1400" dirty="0" smtClean="0">
              <a:solidFill>
                <a:schemeClr val="bg1"/>
              </a:solidFill>
            </a:endParaRPr>
          </a:p>
        </p:txBody>
      </p:sp>
      <p:sp>
        <p:nvSpPr>
          <p:cNvPr id="6" name="Rectangle 5"/>
          <p:cNvSpPr/>
          <p:nvPr/>
        </p:nvSpPr>
        <p:spPr>
          <a:xfrm>
            <a:off x="478631" y="1472834"/>
            <a:ext cx="11237913" cy="4593952"/>
          </a:xfrm>
          <a:prstGeom prst="rect">
            <a:avLst/>
          </a:prstGeom>
          <a:ln>
            <a:noFill/>
          </a:ln>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endParaRPr lang="en-US" dirty="0" smtClean="0"/>
          </a:p>
        </p:txBody>
      </p:sp>
      <p:sp>
        <p:nvSpPr>
          <p:cNvPr id="8" name="Rectangle 7"/>
          <p:cNvSpPr/>
          <p:nvPr/>
        </p:nvSpPr>
        <p:spPr>
          <a:xfrm>
            <a:off x="336331" y="1228779"/>
            <a:ext cx="11603421" cy="5035387"/>
          </a:xfrm>
          <a:prstGeom prst="rect">
            <a:avLst/>
          </a:prstGeom>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n-US" dirty="0" smtClean="0"/>
          </a:p>
        </p:txBody>
      </p:sp>
    </p:spTree>
    <p:extLst>
      <p:ext uri="{BB962C8B-B14F-4D97-AF65-F5344CB8AC3E}">
        <p14:creationId xmlns:p14="http://schemas.microsoft.com/office/powerpoint/2010/main" val="251208124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a:xfrm>
            <a:off x="485776" y="1020276"/>
            <a:ext cx="11223624" cy="5419025"/>
          </a:xfrm>
        </p:spPr>
        <p:txBody>
          <a:bodyPr/>
          <a:lstStyle/>
          <a:p>
            <a:r>
              <a:rPr lang="en-US" sz="1400" dirty="0"/>
              <a:t>Helen M. </a:t>
            </a:r>
            <a:r>
              <a:rPr lang="en-US" sz="1400" dirty="0" smtClean="0"/>
              <a:t>Binkley; </a:t>
            </a:r>
            <a:r>
              <a:rPr lang="en-US" sz="1400" dirty="0"/>
              <a:t>Joseph </a:t>
            </a:r>
            <a:r>
              <a:rPr lang="en-US" sz="1400" dirty="0" smtClean="0"/>
              <a:t>Beckett; </a:t>
            </a:r>
            <a:r>
              <a:rPr lang="en-US" sz="1400" dirty="0"/>
              <a:t>Douglas J. </a:t>
            </a:r>
            <a:r>
              <a:rPr lang="en-US" sz="1400" dirty="0" smtClean="0"/>
              <a:t>Casa; </a:t>
            </a:r>
            <a:r>
              <a:rPr lang="en-US" sz="1400" dirty="0"/>
              <a:t>Douglas M. </a:t>
            </a:r>
            <a:r>
              <a:rPr lang="en-US" sz="1400" dirty="0" smtClean="0"/>
              <a:t>Kleiner; </a:t>
            </a:r>
            <a:r>
              <a:rPr lang="en-US" sz="1400" dirty="0"/>
              <a:t>Paul E. Plummer, National Athletic Trainers’ Association Position Statement: Exertional Heat Illnesses - Prevention Checklist for Certified Athletic Trainers, Journal of Athletic Trainers</a:t>
            </a:r>
            <a:r>
              <a:rPr lang="en-US" sz="1400" dirty="0" smtClean="0"/>
              <a:t>, </a:t>
            </a:r>
            <a:r>
              <a:rPr lang="en-US" sz="1400" dirty="0">
                <a:hlinkClick r:id="rId3"/>
              </a:rPr>
              <a:t>National Athletic Trainers' Association Position Statement: Exertional Heat Illnessess (nata.org</a:t>
            </a:r>
            <a:r>
              <a:rPr lang="en-US" sz="1400" dirty="0" smtClean="0">
                <a:hlinkClick r:id="rId3"/>
              </a:rPr>
              <a:t>)</a:t>
            </a:r>
            <a:r>
              <a:rPr lang="en-US" sz="1400" dirty="0" smtClean="0"/>
              <a:t>, </a:t>
            </a:r>
            <a:r>
              <a:rPr lang="en-US" sz="1400" dirty="0"/>
              <a:t>September 2022.</a:t>
            </a:r>
            <a:endParaRPr lang="en-US" sz="1400" dirty="0" smtClean="0"/>
          </a:p>
          <a:p>
            <a:r>
              <a:rPr lang="en-US" sz="1400" dirty="0" smtClean="0"/>
              <a:t>Heatstroke </a:t>
            </a:r>
            <a:r>
              <a:rPr lang="en-US" sz="1400" dirty="0"/>
              <a:t>Overview, Mayo Clinic, </a:t>
            </a:r>
            <a:r>
              <a:rPr lang="en-US" sz="1400" dirty="0">
                <a:hlinkClick r:id="rId4"/>
              </a:rPr>
              <a:t>Heatstroke - Symptoms and causes - Mayo </a:t>
            </a:r>
            <a:r>
              <a:rPr lang="en-US" sz="1400" dirty="0" smtClean="0">
                <a:hlinkClick r:id="rId4"/>
              </a:rPr>
              <a:t>Clinic</a:t>
            </a:r>
            <a:r>
              <a:rPr lang="en-US" sz="1400" dirty="0" smtClean="0"/>
              <a:t>.</a:t>
            </a:r>
          </a:p>
          <a:p>
            <a:r>
              <a:rPr lang="en-US" sz="1400" dirty="0"/>
              <a:t>Interassociation Recommendations - Preventing Catastrophic Injury and Death in Collegiate Athletes, NCAA Sport Science </a:t>
            </a:r>
            <a:r>
              <a:rPr lang="en-US" sz="1400" dirty="0" smtClean="0"/>
              <a:t>Institute, </a:t>
            </a:r>
            <a:r>
              <a:rPr lang="en-US" sz="1400" dirty="0" smtClean="0">
                <a:hlinkClick r:id="rId5"/>
              </a:rPr>
              <a:t>SSI_PreventingCatastrophicInjuryBooklet.pdf </a:t>
            </a:r>
            <a:r>
              <a:rPr lang="en-US" sz="1400" dirty="0">
                <a:hlinkClick r:id="rId5"/>
              </a:rPr>
              <a:t>(ncaaorg.s3.amazonaws.com</a:t>
            </a:r>
            <a:r>
              <a:rPr lang="en-US" sz="1400" dirty="0" smtClean="0">
                <a:hlinkClick r:id="rId5"/>
              </a:rPr>
              <a:t>)</a:t>
            </a:r>
            <a:r>
              <a:rPr lang="en-US" sz="1400" dirty="0" smtClean="0"/>
              <a:t>, </a:t>
            </a:r>
            <a:r>
              <a:rPr lang="en-US" sz="1400" dirty="0"/>
              <a:t>July 2019.</a:t>
            </a:r>
            <a:endParaRPr lang="en-US" sz="1400" dirty="0" smtClean="0"/>
          </a:p>
          <a:p>
            <a:r>
              <a:rPr lang="en-US" sz="1400" dirty="0" smtClean="0"/>
              <a:t>Kristen </a:t>
            </a:r>
            <a:r>
              <a:rPr lang="en-US" sz="1400" dirty="0"/>
              <a:t>L. Kucera, MSPH, PhD, David Klossner, PhD, ATC, Bob Colgate and Robert C. Cantu, MD, </a:t>
            </a:r>
            <a:r>
              <a:rPr lang="en-US" sz="1400" dirty="0" smtClean="0"/>
              <a:t>Annual Survey of Football Injury Research 1931 – 2021, National </a:t>
            </a:r>
            <a:r>
              <a:rPr lang="en-US" sz="1400" dirty="0"/>
              <a:t>Center for Catastrophic Sport Injury </a:t>
            </a:r>
            <a:r>
              <a:rPr lang="en-US" sz="1400" dirty="0" smtClean="0"/>
              <a:t>Research, </a:t>
            </a:r>
            <a:r>
              <a:rPr lang="en-US" sz="1400" dirty="0" smtClean="0">
                <a:hlinkClick r:id="rId6"/>
              </a:rPr>
              <a:t>ANNUAL </a:t>
            </a:r>
            <a:r>
              <a:rPr lang="en-US" sz="1400" dirty="0">
                <a:hlinkClick r:id="rId6"/>
              </a:rPr>
              <a:t>SURVEY OF FOOTBALL INJURY RESEARCH (unc.edu</a:t>
            </a:r>
            <a:r>
              <a:rPr lang="en-US" sz="1400" dirty="0" smtClean="0">
                <a:hlinkClick r:id="rId6"/>
              </a:rPr>
              <a:t>)</a:t>
            </a:r>
            <a:r>
              <a:rPr lang="en-US" sz="1400" dirty="0" smtClean="0"/>
              <a:t>, </a:t>
            </a:r>
            <a:r>
              <a:rPr lang="en-US" sz="1400" dirty="0"/>
              <a:t>April 14, </a:t>
            </a:r>
            <a:r>
              <a:rPr lang="en-US" sz="1400" dirty="0" smtClean="0"/>
              <a:t>2022.</a:t>
            </a:r>
            <a:endParaRPr lang="en-US" sz="1400" dirty="0"/>
          </a:p>
          <a:p>
            <a:r>
              <a:rPr lang="en-US" sz="1400" dirty="0"/>
              <a:t>Michigan Observed and Projected Temperature Change Chart, </a:t>
            </a:r>
            <a:r>
              <a:rPr lang="en-US" sz="1400" dirty="0">
                <a:hlinkClick r:id="rId7"/>
              </a:rPr>
              <a:t>NOAA releases updated climate summaries for all U.S. states. What will happen in Michigan? - Michigan Sea Grant (msu.edu</a:t>
            </a:r>
            <a:r>
              <a:rPr lang="en-US" sz="1400" dirty="0" smtClean="0">
                <a:hlinkClick r:id="rId7"/>
              </a:rPr>
              <a:t>)</a:t>
            </a:r>
            <a:r>
              <a:rPr lang="en-US" sz="1400" dirty="0" smtClean="0"/>
              <a:t>.</a:t>
            </a:r>
          </a:p>
          <a:p>
            <a:r>
              <a:rPr lang="en-US" sz="1400" dirty="0"/>
              <a:t>NWS Heat Index, National Weather Service, </a:t>
            </a:r>
            <a:r>
              <a:rPr lang="en-US" sz="1400" dirty="0">
                <a:hlinkClick r:id="rId8"/>
              </a:rPr>
              <a:t>What is the heat index? (weather.gov</a:t>
            </a:r>
            <a:r>
              <a:rPr lang="en-US" sz="1400" dirty="0" smtClean="0">
                <a:hlinkClick r:id="rId8"/>
              </a:rPr>
              <a:t>)</a:t>
            </a:r>
            <a:r>
              <a:rPr lang="en-US" sz="1400" dirty="0" smtClean="0"/>
              <a:t>.</a:t>
            </a:r>
          </a:p>
          <a:p>
            <a:r>
              <a:rPr lang="en-US" sz="1400" dirty="0" smtClean="0"/>
              <a:t>Roberts</a:t>
            </a:r>
            <a:r>
              <a:rPr lang="en-US" sz="1400" dirty="0"/>
              <a:t>, William O. MD, MS, FACSM; Armstrong, Lawrence E. PhD, FACSM; Sawka, Michael N. PhD, FACSM, FAPS; Yeargin, Susan W. PhD, ATC; Heled, Yuval PhD, FACSM; O’Connor, Francis G. MD, MPH, FACSM, FAMSSM </a:t>
            </a:r>
            <a:r>
              <a:rPr lang="en-US" sz="1400" dirty="0" smtClean="0"/>
              <a:t>ACSM, Expert Consensus Statement on Exertional Heat Illness: Recognition, Management, and Return to Activity, Current Sports Medicine Reports, </a:t>
            </a:r>
            <a:r>
              <a:rPr lang="en-US" sz="1400" dirty="0">
                <a:hlinkClick r:id="rId9"/>
              </a:rPr>
              <a:t>ACSM Expert Consensus Statement on Exertional Heat Illness:... : Current Sports Medicine Reports (lww.com</a:t>
            </a:r>
            <a:r>
              <a:rPr lang="en-US" sz="1400" dirty="0" smtClean="0">
                <a:hlinkClick r:id="rId9"/>
              </a:rPr>
              <a:t>)</a:t>
            </a:r>
            <a:r>
              <a:rPr lang="en-US" sz="1400" dirty="0" smtClean="0"/>
              <a:t>.</a:t>
            </a:r>
          </a:p>
          <a:p>
            <a:r>
              <a:rPr lang="en-US" sz="1400" dirty="0"/>
              <a:t>UE Large Loss </a:t>
            </a:r>
            <a:r>
              <a:rPr lang="en-US" sz="1400" dirty="0" smtClean="0"/>
              <a:t>Report, </a:t>
            </a:r>
            <a:r>
              <a:rPr lang="en-US" sz="1400" dirty="0">
                <a:hlinkClick r:id="rId10"/>
              </a:rPr>
              <a:t>Large Loss - UE Promotion | United </a:t>
            </a:r>
            <a:r>
              <a:rPr lang="en-US" sz="1400" dirty="0" smtClean="0">
                <a:hlinkClick r:id="rId10"/>
              </a:rPr>
              <a:t>Educators</a:t>
            </a:r>
            <a:r>
              <a:rPr lang="en-US" sz="1400" dirty="0" smtClean="0"/>
              <a:t>, </a:t>
            </a:r>
            <a:r>
              <a:rPr lang="en-US" sz="1400" dirty="0"/>
              <a:t>January, 2023.</a:t>
            </a:r>
          </a:p>
          <a:p>
            <a:endParaRPr lang="en-US" sz="1400" dirty="0" smtClean="0"/>
          </a:p>
          <a:p>
            <a:endParaRPr lang="en-US" dirty="0"/>
          </a:p>
        </p:txBody>
      </p:sp>
      <p:sp>
        <p:nvSpPr>
          <p:cNvPr id="4" name="Title 3"/>
          <p:cNvSpPr>
            <a:spLocks noGrp="1"/>
          </p:cNvSpPr>
          <p:nvPr>
            <p:ph type="title"/>
          </p:nvPr>
        </p:nvSpPr>
        <p:spPr/>
        <p:txBody>
          <a:bodyPr/>
          <a:lstStyle/>
          <a:p>
            <a:r>
              <a:rPr lang="en-US" dirty="0" smtClean="0"/>
              <a:t>Resources</a:t>
            </a:r>
            <a:endParaRPr lang="en-US" dirty="0"/>
          </a:p>
        </p:txBody>
      </p:sp>
    </p:spTree>
    <p:extLst>
      <p:ext uri="{BB962C8B-B14F-4D97-AF65-F5344CB8AC3E}">
        <p14:creationId xmlns:p14="http://schemas.microsoft.com/office/powerpoint/2010/main" val="382965545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 y="955679"/>
            <a:ext cx="12192000" cy="4708981"/>
          </a:xfrm>
          <a:prstGeom prst="rect">
            <a:avLst/>
          </a:prstGeom>
          <a:noFill/>
        </p:spPr>
        <p:txBody>
          <a:bodyPr wrap="square" lIns="91440" tIns="45720" rIns="91440" bIns="45720">
            <a:spAutoFit/>
          </a:bodyPr>
          <a:lstStyle/>
          <a:p>
            <a:pPr algn="ctr"/>
            <a:r>
              <a:rPr lang="en-US" sz="30000" b="0" cap="none" spc="0" dirty="0" smtClean="0">
                <a:ln w="0"/>
                <a:solidFill>
                  <a:schemeClr val="bg1"/>
                </a:solidFill>
                <a:effectLst>
                  <a:reflection blurRad="6350" stA="53000" endA="300" endPos="35500" dir="5400000" sy="-90000" algn="bl" rotWithShape="0"/>
                </a:effectLst>
              </a:rPr>
              <a:t>?</a:t>
            </a:r>
            <a:endParaRPr lang="en-US" sz="30000" b="0" cap="none" spc="0" dirty="0">
              <a:ln w="0"/>
              <a:solidFill>
                <a:schemeClr val="bg1"/>
              </a:solidFill>
              <a:effectLst>
                <a:reflection blurRad="6350" stA="53000" endA="300" endPos="35500" dir="5400000" sy="-90000" algn="bl" rotWithShape="0"/>
              </a:effectLst>
            </a:endParaRPr>
          </a:p>
        </p:txBody>
      </p:sp>
    </p:spTree>
    <p:extLst>
      <p:ext uri="{BB962C8B-B14F-4D97-AF65-F5344CB8AC3E}">
        <p14:creationId xmlns:p14="http://schemas.microsoft.com/office/powerpoint/2010/main" val="273294968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07325" y="4366656"/>
            <a:ext cx="11263744" cy="1748940"/>
          </a:xfrm>
          <a:prstGeom prst="rect">
            <a:avLst/>
          </a:prstGeom>
        </p:spPr>
        <p:txBody>
          <a:bodyPr wrap="square">
            <a:spAutoFit/>
          </a:bodyPr>
          <a:lstStyle/>
          <a:p>
            <a:pPr>
              <a:lnSpc>
                <a:spcPct val="115000"/>
              </a:lnSpc>
              <a:spcBef>
                <a:spcPts val="500"/>
              </a:spcBef>
              <a:spcAft>
                <a:spcPts val="500"/>
              </a:spcAft>
            </a:pPr>
            <a:r>
              <a:rPr lang="en-US" sz="1050" dirty="0">
                <a:solidFill>
                  <a:schemeClr val="bg1"/>
                </a:solidFill>
              </a:rPr>
              <a:t>This document and any recommendations, analysis, or advice provided by Marsh (collectively, the “Marsh Analysis”) are intended solely for the entity identified as the recipient herein (“you”). This document contains proprietary, confidential information of Marsh and may not be shared with any third party, including other insurance producers, without Marsh’s prior written consent. Any statements concerning actuarial, tax, accounting, or legal matters are based solely on our experience as insurance brokers and risk consultants and are not to be relied upon as actuarial, accounting, tax, or legal advice, for which you should consult your own professional advisors. Any modeling, analytics, or projections are subject to inherent uncertainty, and the Marsh Analysis could be materially affected if any underlying assumptions, conditions, information, or factors are inaccurate or incomplete or should change. The information contained herein is based on sources we believe reliable, but we make no representation or warranty as to its accuracy. Except as may be set forth in an agreement between you and Marsh, Marsh shall have no obligation to update the Marsh Analysis and shall have no liability to you or any other party with regard to the Marsh Analysis or to any services provided by a third party to you or Marsh. Marsh makes no representation or warranty concerning the application of policy wordings or the financial condition or solvency of insurers or reinsurers. Marsh makes no assurances regarding the availability, cost, or terms of insurance coverage. </a:t>
            </a:r>
          </a:p>
        </p:txBody>
      </p:sp>
    </p:spTree>
    <p:extLst>
      <p:ext uri="{BB962C8B-B14F-4D97-AF65-F5344CB8AC3E}">
        <p14:creationId xmlns:p14="http://schemas.microsoft.com/office/powerpoint/2010/main" val="265271568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dirty="0"/>
          </a:p>
        </p:txBody>
      </p:sp>
      <p:pic>
        <p:nvPicPr>
          <p:cNvPr id="6" name="Content Placeholder 5"/>
          <p:cNvPicPr>
            <a:picLocks noGrp="1" noChangeAspect="1"/>
          </p:cNvPicPr>
          <p:nvPr>
            <p:ph sz="quarter" idx="11"/>
          </p:nvPr>
        </p:nvPicPr>
        <p:blipFill>
          <a:blip r:embed="rId3"/>
          <a:stretch>
            <a:fillRect/>
          </a:stretch>
        </p:blipFill>
        <p:spPr>
          <a:xfrm>
            <a:off x="2545621" y="1015197"/>
            <a:ext cx="7075356" cy="5545897"/>
          </a:xfrm>
          <a:prstGeom prst="rect">
            <a:avLst/>
          </a:prstGeom>
        </p:spPr>
      </p:pic>
      <p:sp>
        <p:nvSpPr>
          <p:cNvPr id="4" name="Title 3"/>
          <p:cNvSpPr>
            <a:spLocks noGrp="1"/>
          </p:cNvSpPr>
          <p:nvPr>
            <p:ph type="title"/>
          </p:nvPr>
        </p:nvSpPr>
        <p:spPr/>
        <p:txBody>
          <a:bodyPr/>
          <a:lstStyle/>
          <a:p>
            <a:r>
              <a:rPr lang="en-US" dirty="0" smtClean="0"/>
              <a:t>Michigan is Heating Up</a:t>
            </a:r>
            <a:endParaRPr lang="en-US" dirty="0"/>
          </a:p>
        </p:txBody>
      </p:sp>
      <p:sp>
        <p:nvSpPr>
          <p:cNvPr id="5" name="Text Placeholder 4"/>
          <p:cNvSpPr>
            <a:spLocks noGrp="1"/>
          </p:cNvSpPr>
          <p:nvPr>
            <p:ph type="body" sz="half" idx="2"/>
          </p:nvPr>
        </p:nvSpPr>
        <p:spPr/>
        <p:txBody>
          <a:bodyPr/>
          <a:lstStyle/>
          <a:p>
            <a:endParaRPr lang="en-US" dirty="0"/>
          </a:p>
        </p:txBody>
      </p:sp>
    </p:spTree>
    <p:extLst>
      <p:ext uri="{BB962C8B-B14F-4D97-AF65-F5344CB8AC3E}">
        <p14:creationId xmlns:p14="http://schemas.microsoft.com/office/powerpoint/2010/main" val="29313598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dirty="0"/>
          </a:p>
        </p:txBody>
      </p:sp>
      <p:sp>
        <p:nvSpPr>
          <p:cNvPr id="4" name="Title 3"/>
          <p:cNvSpPr>
            <a:spLocks noGrp="1"/>
          </p:cNvSpPr>
          <p:nvPr>
            <p:ph type="title"/>
          </p:nvPr>
        </p:nvSpPr>
        <p:spPr/>
        <p:txBody>
          <a:bodyPr/>
          <a:lstStyle/>
          <a:p>
            <a:r>
              <a:rPr lang="en-US" dirty="0" smtClean="0"/>
              <a:t>Today’s Discussion</a:t>
            </a:r>
            <a:endParaRPr lang="en-US" dirty="0"/>
          </a:p>
        </p:txBody>
      </p:sp>
      <p:sp>
        <p:nvSpPr>
          <p:cNvPr id="5" name="Text Placeholder 4"/>
          <p:cNvSpPr>
            <a:spLocks noGrp="1"/>
          </p:cNvSpPr>
          <p:nvPr>
            <p:ph type="body" sz="half" idx="2"/>
          </p:nvPr>
        </p:nvSpPr>
        <p:spPr/>
        <p:txBody>
          <a:bodyPr/>
          <a:lstStyle/>
          <a:p>
            <a:endParaRPr lang="en-US" dirty="0"/>
          </a:p>
        </p:txBody>
      </p:sp>
      <p:graphicFrame>
        <p:nvGraphicFramePr>
          <p:cNvPr id="6" name="Content Placeholder 6"/>
          <p:cNvGraphicFramePr>
            <a:graphicFrameLocks/>
          </p:cNvGraphicFramePr>
          <p:nvPr>
            <p:extLst>
              <p:ext uri="{D42A27DB-BD31-4B8C-83A1-F6EECF244321}">
                <p14:modId xmlns:p14="http://schemas.microsoft.com/office/powerpoint/2010/main" val="40522058"/>
              </p:ext>
            </p:extLst>
          </p:nvPr>
        </p:nvGraphicFramePr>
        <p:xfrm>
          <a:off x="1266723" y="1125283"/>
          <a:ext cx="9294359" cy="49879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9984533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dirty="0"/>
          </a:p>
        </p:txBody>
      </p:sp>
      <p:sp>
        <p:nvSpPr>
          <p:cNvPr id="4" name="Title 3"/>
          <p:cNvSpPr>
            <a:spLocks noGrp="1"/>
          </p:cNvSpPr>
          <p:nvPr>
            <p:ph type="title"/>
          </p:nvPr>
        </p:nvSpPr>
        <p:spPr/>
        <p:txBody>
          <a:bodyPr/>
          <a:lstStyle/>
          <a:p>
            <a:r>
              <a:rPr lang="en-US" dirty="0" smtClean="0"/>
              <a:t>Heat Related Higher Ed Cases</a:t>
            </a:r>
            <a:endParaRPr lang="en-US" dirty="0"/>
          </a:p>
        </p:txBody>
      </p:sp>
      <p:sp>
        <p:nvSpPr>
          <p:cNvPr id="5" name="Text Placeholder 4"/>
          <p:cNvSpPr>
            <a:spLocks noGrp="1"/>
          </p:cNvSpPr>
          <p:nvPr>
            <p:ph type="body" sz="half" idx="2"/>
          </p:nvPr>
        </p:nvSpPr>
        <p:spPr/>
        <p:txBody>
          <a:bodyPr/>
          <a:lstStyle/>
          <a:p>
            <a:r>
              <a:rPr lang="en-US" dirty="0" smtClean="0"/>
              <a:t>2020, 2022</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3972601946"/>
              </p:ext>
            </p:extLst>
          </p:nvPr>
        </p:nvGraphicFramePr>
        <p:xfrm>
          <a:off x="485776" y="1302106"/>
          <a:ext cx="11223624" cy="4693920"/>
        </p:xfrm>
        <a:graphic>
          <a:graphicData uri="http://schemas.openxmlformats.org/drawingml/2006/table">
            <a:tbl>
              <a:tblPr firstRow="1" bandRow="1">
                <a:tableStyleId>{5C22544A-7EE6-4342-B048-85BDC9FD1C3A}</a:tableStyleId>
              </a:tblPr>
              <a:tblGrid>
                <a:gridCol w="3741208">
                  <a:extLst>
                    <a:ext uri="{9D8B030D-6E8A-4147-A177-3AD203B41FA5}">
                      <a16:colId xmlns:a16="http://schemas.microsoft.com/office/drawing/2014/main" val="3844560762"/>
                    </a:ext>
                  </a:extLst>
                </a:gridCol>
                <a:gridCol w="1932342">
                  <a:extLst>
                    <a:ext uri="{9D8B030D-6E8A-4147-A177-3AD203B41FA5}">
                      <a16:colId xmlns:a16="http://schemas.microsoft.com/office/drawing/2014/main" val="2039585556"/>
                    </a:ext>
                  </a:extLst>
                </a:gridCol>
                <a:gridCol w="5550074">
                  <a:extLst>
                    <a:ext uri="{9D8B030D-6E8A-4147-A177-3AD203B41FA5}">
                      <a16:colId xmlns:a16="http://schemas.microsoft.com/office/drawing/2014/main" val="2957354150"/>
                    </a:ext>
                  </a:extLst>
                </a:gridCol>
              </a:tblGrid>
              <a:tr h="370840">
                <a:tc>
                  <a:txBody>
                    <a:bodyPr/>
                    <a:lstStyle/>
                    <a:p>
                      <a:r>
                        <a:rPr lang="en-US" sz="1600" dirty="0" smtClean="0"/>
                        <a:t>Institution</a:t>
                      </a:r>
                      <a:endParaRPr lang="en-US" sz="1600" dirty="0"/>
                    </a:p>
                  </a:txBody>
                  <a:tcPr/>
                </a:tc>
                <a:tc>
                  <a:txBody>
                    <a:bodyPr/>
                    <a:lstStyle/>
                    <a:p>
                      <a:r>
                        <a:rPr lang="en-US" sz="1600" dirty="0" smtClean="0"/>
                        <a:t>Case Reward or Settlement</a:t>
                      </a:r>
                      <a:r>
                        <a:rPr lang="en-US" sz="1600" baseline="0" dirty="0" smtClean="0"/>
                        <a:t> </a:t>
                      </a:r>
                      <a:endParaRPr lang="en-US" sz="1600" dirty="0"/>
                    </a:p>
                  </a:txBody>
                  <a:tcPr/>
                </a:tc>
                <a:tc>
                  <a:txBody>
                    <a:bodyPr/>
                    <a:lstStyle/>
                    <a:p>
                      <a:endParaRPr lang="en-US" sz="1600" dirty="0"/>
                    </a:p>
                  </a:txBody>
                  <a:tcPr/>
                </a:tc>
                <a:extLst>
                  <a:ext uri="{0D108BD9-81ED-4DB2-BD59-A6C34878D82A}">
                    <a16:rowId xmlns:a16="http://schemas.microsoft.com/office/drawing/2014/main" val="112713364"/>
                  </a:ext>
                </a:extLst>
              </a:tr>
              <a:tr h="370840">
                <a:tc>
                  <a:txBody>
                    <a:bodyPr/>
                    <a:lstStyle/>
                    <a:p>
                      <a:r>
                        <a:rPr lang="en-US" sz="1800" b="0" dirty="0" smtClean="0"/>
                        <a:t>California</a:t>
                      </a:r>
                      <a:r>
                        <a:rPr lang="en-US" sz="1800" b="0" baseline="0" dirty="0" smtClean="0"/>
                        <a:t> State University</a:t>
                      </a:r>
                      <a:endParaRPr lang="en-US" sz="1800" b="0"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b="0" dirty="0" smtClean="0">
                          <a:effectLst/>
                        </a:rPr>
                        <a:t>$39.5M</a:t>
                      </a:r>
                      <a:endParaRPr lang="en-US" sz="1800" b="0" dirty="0" smtClean="0">
                        <a:effectLst/>
                        <a:latin typeface="Calibri" panose="020F0502020204030204" pitchFamily="34" charset="0"/>
                        <a:ea typeface="Calibri" panose="020F0502020204030204" pitchFamily="34" charset="0"/>
                        <a:cs typeface="Times New Roman" panose="02020603050405020304" pitchFamily="18" charset="0"/>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b="0" dirty="0" smtClean="0">
                          <a:effectLst/>
                        </a:rPr>
                        <a:t>Kinesiology student suffered heatstroke during a class run on a 95-degree day that left her brain injured and she suffered severe brain damage, cardiac arrest, and multisystem organ failure. Reports of failing to respond appropriately and staff training being inadequate</a:t>
                      </a:r>
                      <a:r>
                        <a:rPr lang="en-US" sz="1800" b="0" baseline="0" dirty="0" smtClean="0">
                          <a:effectLst/>
                        </a:rPr>
                        <a:t> contributed to her injuries.</a:t>
                      </a:r>
                      <a:endParaRPr lang="en-US" sz="1800" b="0" dirty="0" smtClean="0">
                        <a:effectLst/>
                        <a:latin typeface="Times New Roman" panose="02020603050405020304" pitchFamily="18" charset="0"/>
                        <a:ea typeface="Calibri" panose="020F0502020204030204" pitchFamily="34" charset="0"/>
                        <a:cs typeface="Times New Roman" panose="02020603050405020304" pitchFamily="18" charset="0"/>
                      </a:endParaRPr>
                    </a:p>
                  </a:txBody>
                  <a:tcPr/>
                </a:tc>
                <a:extLst>
                  <a:ext uri="{0D108BD9-81ED-4DB2-BD59-A6C34878D82A}">
                    <a16:rowId xmlns:a16="http://schemas.microsoft.com/office/drawing/2014/main" val="795245978"/>
                  </a:ext>
                </a:extLst>
              </a:tr>
              <a:tr h="370840">
                <a:tc>
                  <a:txBody>
                    <a:bodyPr/>
                    <a:lstStyle/>
                    <a:p>
                      <a:r>
                        <a:rPr lang="en-US" sz="1800" b="0" dirty="0" smtClean="0"/>
                        <a:t>University</a:t>
                      </a:r>
                      <a:r>
                        <a:rPr lang="en-US" sz="1800" b="0" baseline="0" dirty="0" smtClean="0"/>
                        <a:t> of Cumberlands (KY)</a:t>
                      </a:r>
                      <a:endParaRPr lang="en-US" sz="1800" b="0" dirty="0"/>
                    </a:p>
                  </a:txBody>
                  <a:tcPr/>
                </a:tc>
                <a:tc>
                  <a:txBody>
                    <a:bodyPr/>
                    <a:lstStyle/>
                    <a:p>
                      <a:r>
                        <a:rPr lang="en-US" sz="1800" b="0" baseline="0" dirty="0" smtClean="0"/>
                        <a:t>$14M and educational requirements</a:t>
                      </a:r>
                      <a:endParaRPr lang="en-US" sz="1800" b="0"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b="0" i="0" u="none" strike="noStrike" kern="1200" baseline="0" dirty="0" smtClean="0">
                          <a:solidFill>
                            <a:schemeClr val="dk1"/>
                          </a:solidFill>
                          <a:latin typeface="+mn-lt"/>
                          <a:ea typeface="+mn-ea"/>
                          <a:cs typeface="+mn-cs"/>
                        </a:rPr>
                        <a:t>Wrestler died of heat stroke during practice.  Student was denied water and treatment while suffering extreme symptoms.  </a:t>
                      </a:r>
                    </a:p>
                  </a:txBody>
                  <a:tcPr/>
                </a:tc>
                <a:extLst>
                  <a:ext uri="{0D108BD9-81ED-4DB2-BD59-A6C34878D82A}">
                    <a16:rowId xmlns:a16="http://schemas.microsoft.com/office/drawing/2014/main" val="3610013355"/>
                  </a:ext>
                </a:extLst>
              </a:tr>
              <a:tr h="370840">
                <a:tc>
                  <a:txBody>
                    <a:bodyPr/>
                    <a:lstStyle/>
                    <a:p>
                      <a:r>
                        <a:rPr lang="en-US" sz="1800" b="0" dirty="0" smtClean="0"/>
                        <a:t>University of Maryland</a:t>
                      </a:r>
                      <a:endParaRPr lang="en-US" sz="1800" b="0" dirty="0"/>
                    </a:p>
                  </a:txBody>
                  <a:tcPr/>
                </a:tc>
                <a:tc>
                  <a:txBody>
                    <a:bodyPr/>
                    <a:lstStyle/>
                    <a:p>
                      <a:r>
                        <a:rPr lang="en-US" sz="1800" b="0" dirty="0" smtClean="0"/>
                        <a:t>$3.5M</a:t>
                      </a:r>
                      <a:r>
                        <a:rPr lang="en-US" sz="1800" b="0" baseline="0" dirty="0" smtClean="0"/>
                        <a:t> and educational and policy requirements</a:t>
                      </a:r>
                      <a:endParaRPr lang="en-US" sz="1800" b="0" dirty="0"/>
                    </a:p>
                  </a:txBody>
                  <a:tcPr/>
                </a:tc>
                <a:tc>
                  <a:txBody>
                    <a:bodyPr/>
                    <a:lstStyle/>
                    <a:p>
                      <a:r>
                        <a:rPr lang="en-US" sz="1800" b="0" dirty="0" smtClean="0"/>
                        <a:t>Football player collapsed during outdoor conditioning</a:t>
                      </a:r>
                      <a:r>
                        <a:rPr lang="en-US" sz="1800" b="0" baseline="0" dirty="0" smtClean="0"/>
                        <a:t> from heatstroke and died later from that exposure.  Coaches didn’t respond and intimidation was present.  Medical staff failed to properly identify and treat symptoms.  </a:t>
                      </a:r>
                      <a:r>
                        <a:rPr lang="en-US" sz="1800" b="0" dirty="0" smtClean="0"/>
                        <a:t> </a:t>
                      </a:r>
                      <a:endParaRPr lang="en-US" sz="1800" b="0" dirty="0"/>
                    </a:p>
                  </a:txBody>
                  <a:tcPr/>
                </a:tc>
                <a:extLst>
                  <a:ext uri="{0D108BD9-81ED-4DB2-BD59-A6C34878D82A}">
                    <a16:rowId xmlns:a16="http://schemas.microsoft.com/office/drawing/2014/main" val="832059427"/>
                  </a:ext>
                </a:extLst>
              </a:tr>
            </a:tbl>
          </a:graphicData>
        </a:graphic>
      </p:graphicFrame>
    </p:spTree>
    <p:extLst>
      <p:ext uri="{BB962C8B-B14F-4D97-AF65-F5344CB8AC3E}">
        <p14:creationId xmlns:p14="http://schemas.microsoft.com/office/powerpoint/2010/main" val="377330214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dirty="0"/>
          </a:p>
        </p:txBody>
      </p:sp>
      <p:pic>
        <p:nvPicPr>
          <p:cNvPr id="7" name="Content Placeholder 6"/>
          <p:cNvPicPr>
            <a:picLocks noGrp="1" noChangeAspect="1"/>
          </p:cNvPicPr>
          <p:nvPr>
            <p:ph sz="quarter" idx="11"/>
          </p:nvPr>
        </p:nvPicPr>
        <p:blipFill>
          <a:blip r:embed="rId3"/>
          <a:stretch>
            <a:fillRect/>
          </a:stretch>
        </p:blipFill>
        <p:spPr>
          <a:xfrm>
            <a:off x="3846753" y="1439554"/>
            <a:ext cx="7456924" cy="4827232"/>
          </a:xfrm>
          <a:prstGeom prst="rect">
            <a:avLst/>
          </a:prstGeom>
        </p:spPr>
      </p:pic>
      <p:sp>
        <p:nvSpPr>
          <p:cNvPr id="4" name="Title 3"/>
          <p:cNvSpPr>
            <a:spLocks noGrp="1"/>
          </p:cNvSpPr>
          <p:nvPr>
            <p:ph type="title"/>
          </p:nvPr>
        </p:nvSpPr>
        <p:spPr/>
        <p:txBody>
          <a:bodyPr/>
          <a:lstStyle/>
          <a:p>
            <a:r>
              <a:rPr lang="en-US" dirty="0" smtClean="0"/>
              <a:t>Using the Heat Index - How Hot is Too Hot?</a:t>
            </a:r>
            <a:endParaRPr lang="en-US" dirty="0"/>
          </a:p>
        </p:txBody>
      </p:sp>
      <p:sp>
        <p:nvSpPr>
          <p:cNvPr id="5" name="Text Placeholder 4"/>
          <p:cNvSpPr>
            <a:spLocks noGrp="1"/>
          </p:cNvSpPr>
          <p:nvPr>
            <p:ph type="body" sz="half" idx="2"/>
          </p:nvPr>
        </p:nvSpPr>
        <p:spPr/>
        <p:txBody>
          <a:bodyPr/>
          <a:lstStyle/>
          <a:p>
            <a:endParaRPr lang="en-US" dirty="0"/>
          </a:p>
        </p:txBody>
      </p:sp>
      <p:sp>
        <p:nvSpPr>
          <p:cNvPr id="9" name="TextBox 8"/>
          <p:cNvSpPr txBox="1"/>
          <p:nvPr/>
        </p:nvSpPr>
        <p:spPr>
          <a:xfrm flipH="1">
            <a:off x="757984" y="3114506"/>
            <a:ext cx="2745611" cy="1477328"/>
          </a:xfrm>
          <a:prstGeom prst="rect">
            <a:avLst/>
          </a:prstGeom>
          <a:noFill/>
        </p:spPr>
        <p:txBody>
          <a:bodyPr wrap="square" lIns="0" tIns="0" rIns="0" bIns="0" rtlCol="0">
            <a:spAutoFit/>
          </a:bodyPr>
          <a:lstStyle/>
          <a:p>
            <a:pPr algn="l"/>
            <a:r>
              <a:rPr lang="en-US" sz="3200" i="1" dirty="0" smtClean="0"/>
              <a:t>It’s not only the heat, humidity matters too. </a:t>
            </a:r>
            <a:endParaRPr lang="en-US" sz="3200" i="1" dirty="0"/>
          </a:p>
        </p:txBody>
      </p:sp>
      <p:sp>
        <p:nvSpPr>
          <p:cNvPr id="10" name="Rectangle 9"/>
          <p:cNvSpPr/>
          <p:nvPr/>
        </p:nvSpPr>
        <p:spPr>
          <a:xfrm>
            <a:off x="464849" y="2812984"/>
            <a:ext cx="3210325" cy="2088682"/>
          </a:xfrm>
          <a:prstGeom prst="rect">
            <a:avLst/>
          </a:prstGeom>
          <a:ln w="50800">
            <a:solidFill>
              <a:srgbClr val="9A1C1F"/>
            </a:solidFill>
          </a:ln>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endParaRPr lang="en-US" dirty="0" smtClean="0"/>
          </a:p>
        </p:txBody>
      </p:sp>
    </p:spTree>
    <p:extLst>
      <p:ext uri="{BB962C8B-B14F-4D97-AF65-F5344CB8AC3E}">
        <p14:creationId xmlns:p14="http://schemas.microsoft.com/office/powerpoint/2010/main" val="362523040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dirty="0"/>
          </a:p>
        </p:txBody>
      </p:sp>
      <p:sp>
        <p:nvSpPr>
          <p:cNvPr id="3" name="Content Placeholder 2"/>
          <p:cNvSpPr>
            <a:spLocks noGrp="1"/>
          </p:cNvSpPr>
          <p:nvPr>
            <p:ph sz="quarter" idx="11"/>
          </p:nvPr>
        </p:nvSpPr>
        <p:spPr>
          <a:xfrm>
            <a:off x="958252" y="2557316"/>
            <a:ext cx="5490481" cy="3227728"/>
          </a:xfrm>
        </p:spPr>
        <p:txBody>
          <a:bodyPr/>
          <a:lstStyle/>
          <a:p>
            <a:pPr fontAlgn="base"/>
            <a:r>
              <a:rPr lang="en-US" dirty="0" smtClean="0"/>
              <a:t>Estimates </a:t>
            </a:r>
            <a:r>
              <a:rPr lang="en-US" dirty="0"/>
              <a:t>the effect of temperature, relative humidity, wind speed, and solar radiation on humans using a combination of </a:t>
            </a:r>
            <a:r>
              <a:rPr lang="en-US" dirty="0" smtClean="0"/>
              <a:t>temperatures </a:t>
            </a:r>
            <a:r>
              <a:rPr lang="en-US" dirty="0"/>
              <a:t>from three thermometers:</a:t>
            </a:r>
          </a:p>
          <a:p>
            <a:pPr fontAlgn="base"/>
            <a:r>
              <a:rPr lang="en-US" b="1" dirty="0" smtClean="0"/>
              <a:t>Wet bulb</a:t>
            </a:r>
            <a:r>
              <a:rPr lang="en-US" dirty="0" smtClean="0"/>
              <a:t> - measures evaporation, mirroring </a:t>
            </a:r>
            <a:r>
              <a:rPr lang="en-US" dirty="0"/>
              <a:t>how the human body cools itself with sweat.</a:t>
            </a:r>
          </a:p>
          <a:p>
            <a:pPr fontAlgn="base"/>
            <a:r>
              <a:rPr lang="en-US" b="1" dirty="0"/>
              <a:t>B</a:t>
            </a:r>
            <a:r>
              <a:rPr lang="en-US" b="1" dirty="0" smtClean="0"/>
              <a:t>lack globe </a:t>
            </a:r>
            <a:r>
              <a:rPr lang="en-US" dirty="0" smtClean="0"/>
              <a:t>- measures </a:t>
            </a:r>
            <a:r>
              <a:rPr lang="en-US" dirty="0"/>
              <a:t>solar radiation. </a:t>
            </a:r>
            <a:endParaRPr lang="en-US" dirty="0" smtClean="0"/>
          </a:p>
          <a:p>
            <a:pPr fontAlgn="base"/>
            <a:r>
              <a:rPr lang="en-US" b="1" dirty="0" smtClean="0"/>
              <a:t>Dry </a:t>
            </a:r>
            <a:r>
              <a:rPr lang="en-US" b="1" dirty="0"/>
              <a:t>bulb </a:t>
            </a:r>
            <a:r>
              <a:rPr lang="en-US" dirty="0" smtClean="0"/>
              <a:t>- measures </a:t>
            </a:r>
            <a:r>
              <a:rPr lang="en-US" dirty="0"/>
              <a:t>the air temperature measured in the shade. </a:t>
            </a:r>
          </a:p>
        </p:txBody>
      </p:sp>
      <p:sp>
        <p:nvSpPr>
          <p:cNvPr id="4" name="Title 3"/>
          <p:cNvSpPr>
            <a:spLocks noGrp="1"/>
          </p:cNvSpPr>
          <p:nvPr>
            <p:ph type="title"/>
          </p:nvPr>
        </p:nvSpPr>
        <p:spPr/>
        <p:txBody>
          <a:bodyPr/>
          <a:lstStyle/>
          <a:p>
            <a:r>
              <a:rPr lang="en-US" dirty="0" smtClean="0"/>
              <a:t>Wet Bulb Globe Thermometer</a:t>
            </a:r>
            <a:endParaRPr lang="en-US" dirty="0"/>
          </a:p>
        </p:txBody>
      </p:sp>
      <p:sp>
        <p:nvSpPr>
          <p:cNvPr id="5" name="Text Placeholder 4"/>
          <p:cNvSpPr>
            <a:spLocks noGrp="1"/>
          </p:cNvSpPr>
          <p:nvPr>
            <p:ph type="body" sz="half" idx="2"/>
          </p:nvPr>
        </p:nvSpPr>
        <p:spPr/>
        <p:txBody>
          <a:bodyPr/>
          <a:lstStyle/>
          <a:p>
            <a:endParaRPr lang="en-US" dirty="0"/>
          </a:p>
        </p:txBody>
      </p:sp>
      <p:pic>
        <p:nvPicPr>
          <p:cNvPr id="6" name="Picture 5"/>
          <p:cNvPicPr>
            <a:picLocks noChangeAspect="1"/>
          </p:cNvPicPr>
          <p:nvPr/>
        </p:nvPicPr>
        <p:blipFill>
          <a:blip r:embed="rId3"/>
          <a:stretch>
            <a:fillRect/>
          </a:stretch>
        </p:blipFill>
        <p:spPr>
          <a:xfrm>
            <a:off x="7112263" y="2055698"/>
            <a:ext cx="4086007" cy="4230965"/>
          </a:xfrm>
          <a:prstGeom prst="rect">
            <a:avLst/>
          </a:prstGeom>
          <a:ln>
            <a:solidFill>
              <a:schemeClr val="tx1"/>
            </a:solidFill>
          </a:ln>
        </p:spPr>
      </p:pic>
      <p:sp>
        <p:nvSpPr>
          <p:cNvPr id="7" name="Content Placeholder 2"/>
          <p:cNvSpPr txBox="1">
            <a:spLocks/>
          </p:cNvSpPr>
          <p:nvPr/>
        </p:nvSpPr>
        <p:spPr>
          <a:xfrm>
            <a:off x="485777" y="1419130"/>
            <a:ext cx="11223623" cy="642497"/>
          </a:xfrm>
          <a:prstGeom prst="rect">
            <a:avLst/>
          </a:prstGeom>
        </p:spPr>
        <p:txBody>
          <a:bodyPr vert="horz" lIns="0" tIns="0" rIns="0" bIns="0" rtlCol="0" anchor="t">
            <a:noAutofit/>
          </a:bodyPr>
          <a:lstStyle>
            <a:lvl1pPr marL="0" indent="0" algn="l" defTabSz="457200" rtl="0" eaLnBrk="1" latinLnBrk="0" hangingPunct="1">
              <a:spcBef>
                <a:spcPts val="1200"/>
              </a:spcBef>
              <a:spcAft>
                <a:spcPts val="600"/>
              </a:spcAft>
              <a:buFont typeface="Arial"/>
              <a:buNone/>
              <a:defRPr sz="1800" b="0" kern="1200">
                <a:solidFill>
                  <a:schemeClr val="tx1"/>
                </a:solidFill>
                <a:latin typeface="+mn-lt"/>
                <a:ea typeface="+mn-ea"/>
                <a:cs typeface="+mn-cs"/>
              </a:defRPr>
            </a:lvl1pPr>
            <a:lvl2pPr marL="228600" indent="-225425"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457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914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146175" indent="-227013" algn="l" defTabSz="457200" rtl="0" eaLnBrk="1" latinLnBrk="0" hangingPunct="1">
              <a:spcBef>
                <a:spcPts val="0"/>
              </a:spcBef>
              <a:spcAft>
                <a:spcPts val="600"/>
              </a:spcAft>
              <a:buFont typeface="Arial"/>
              <a:buChar char="•"/>
              <a:tabLst/>
              <a:defRPr sz="1200" kern="1200">
                <a:solidFill>
                  <a:schemeClr val="tx1"/>
                </a:solidFill>
                <a:latin typeface="+mn-lt"/>
                <a:ea typeface="+mn-ea"/>
                <a:cs typeface="+mn-cs"/>
              </a:defRPr>
            </a:lvl6pPr>
            <a:lvl7pPr marL="1374775" indent="-228600" algn="l" defTabSz="457200" rtl="0" eaLnBrk="1" latinLnBrk="0" hangingPunct="1">
              <a:spcBef>
                <a:spcPts val="0"/>
              </a:spcBef>
              <a:spcAft>
                <a:spcPts val="600"/>
              </a:spcAft>
              <a:buFont typeface="System Font Regular"/>
              <a:buChar char="–"/>
              <a:tabLst/>
              <a:defRPr sz="1200" kern="1200">
                <a:solidFill>
                  <a:schemeClr val="tx1"/>
                </a:solidFill>
                <a:latin typeface="+mn-lt"/>
                <a:ea typeface="+mn-ea"/>
                <a:cs typeface="+mn-cs"/>
              </a:defRPr>
            </a:lvl7pPr>
            <a:lvl8pPr marL="1601788" indent="-227013" algn="l" defTabSz="457200" rtl="0" eaLnBrk="1" latinLnBrk="0" hangingPunct="1">
              <a:spcBef>
                <a:spcPts val="0"/>
              </a:spcBef>
              <a:spcAft>
                <a:spcPts val="600"/>
              </a:spcAft>
              <a:buFont typeface="Arial"/>
              <a:buChar char="•"/>
              <a:tabLst/>
              <a:defRPr sz="1200" kern="1200">
                <a:solidFill>
                  <a:schemeClr val="tx1"/>
                </a:solidFill>
                <a:latin typeface="+mn-lt"/>
                <a:ea typeface="+mn-ea"/>
                <a:cs typeface="+mn-cs"/>
              </a:defRPr>
            </a:lvl8pPr>
            <a:lvl9pPr marL="1830388" indent="-219075" algn="l" defTabSz="457200" rtl="0" eaLnBrk="1" latinLnBrk="0" hangingPunct="1">
              <a:spcBef>
                <a:spcPts val="0"/>
              </a:spcBef>
              <a:spcAft>
                <a:spcPts val="600"/>
              </a:spcAft>
              <a:buFont typeface="System Font Regular"/>
              <a:buChar char="–"/>
              <a:tabLst/>
              <a:defRPr sz="1200" kern="1200">
                <a:solidFill>
                  <a:schemeClr val="tx1"/>
                </a:solidFill>
                <a:latin typeface="+mn-lt"/>
                <a:ea typeface="+mn-ea"/>
                <a:cs typeface="+mn-cs"/>
              </a:defRPr>
            </a:lvl9pPr>
          </a:lstStyle>
          <a:p>
            <a:pPr algn="ctr" fontAlgn="base"/>
            <a:r>
              <a:rPr lang="en-US" sz="2200" b="1" dirty="0" smtClean="0"/>
              <a:t>Indicates expected heat stress on the human body when in direct sunlight. </a:t>
            </a:r>
          </a:p>
          <a:p>
            <a:endParaRPr lang="en-US" sz="2200" dirty="0"/>
          </a:p>
        </p:txBody>
      </p:sp>
    </p:spTree>
    <p:extLst>
      <p:ext uri="{BB962C8B-B14F-4D97-AF65-F5344CB8AC3E}">
        <p14:creationId xmlns:p14="http://schemas.microsoft.com/office/powerpoint/2010/main" val="262794840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dirty="0"/>
          </a:p>
        </p:txBody>
      </p:sp>
      <p:pic>
        <p:nvPicPr>
          <p:cNvPr id="6" name="Content Placeholder 5"/>
          <p:cNvPicPr>
            <a:picLocks noGrp="1" noChangeAspect="1"/>
          </p:cNvPicPr>
          <p:nvPr>
            <p:ph sz="quarter" idx="11"/>
          </p:nvPr>
        </p:nvPicPr>
        <p:blipFill>
          <a:blip r:embed="rId3">
            <a:extLst>
              <a:ext uri="{28A0092B-C50C-407E-A947-70E740481C1C}">
                <a14:useLocalDpi xmlns:a14="http://schemas.microsoft.com/office/drawing/2010/main" val="0"/>
              </a:ext>
            </a:extLst>
          </a:blip>
          <a:stretch>
            <a:fillRect/>
          </a:stretch>
        </p:blipFill>
        <p:spPr>
          <a:xfrm>
            <a:off x="5507854" y="1047870"/>
            <a:ext cx="5501507" cy="5417644"/>
          </a:xfrm>
        </p:spPr>
      </p:pic>
      <p:sp>
        <p:nvSpPr>
          <p:cNvPr id="4" name="Title 3"/>
          <p:cNvSpPr>
            <a:spLocks noGrp="1"/>
          </p:cNvSpPr>
          <p:nvPr>
            <p:ph type="title"/>
          </p:nvPr>
        </p:nvSpPr>
        <p:spPr/>
        <p:txBody>
          <a:bodyPr/>
          <a:lstStyle/>
          <a:p>
            <a:r>
              <a:rPr lang="en-US" dirty="0" smtClean="0"/>
              <a:t>Heat Exposure Basics to Know</a:t>
            </a:r>
            <a:endParaRPr lang="en-US" dirty="0"/>
          </a:p>
        </p:txBody>
      </p:sp>
      <p:sp>
        <p:nvSpPr>
          <p:cNvPr id="5" name="Text Placeholder 4"/>
          <p:cNvSpPr>
            <a:spLocks noGrp="1"/>
          </p:cNvSpPr>
          <p:nvPr>
            <p:ph type="body" sz="half" idx="2"/>
          </p:nvPr>
        </p:nvSpPr>
        <p:spPr/>
        <p:txBody>
          <a:bodyPr/>
          <a:lstStyle/>
          <a:p>
            <a:endParaRPr lang="en-US" dirty="0"/>
          </a:p>
        </p:txBody>
      </p:sp>
      <p:sp>
        <p:nvSpPr>
          <p:cNvPr id="8" name="TextBox 7"/>
          <p:cNvSpPr txBox="1"/>
          <p:nvPr/>
        </p:nvSpPr>
        <p:spPr>
          <a:xfrm>
            <a:off x="619375" y="2349220"/>
            <a:ext cx="4754880" cy="3016210"/>
          </a:xfrm>
          <a:prstGeom prst="rect">
            <a:avLst/>
          </a:prstGeom>
          <a:noFill/>
        </p:spPr>
        <p:txBody>
          <a:bodyPr wrap="square" lIns="0" tIns="0" rIns="0" bIns="0" rtlCol="0">
            <a:spAutoFit/>
          </a:bodyPr>
          <a:lstStyle/>
          <a:p>
            <a:pPr algn="l"/>
            <a:r>
              <a:rPr lang="en-US" sz="2800" dirty="0" smtClean="0"/>
              <a:t>Contributing Factors</a:t>
            </a:r>
          </a:p>
          <a:p>
            <a:pPr marL="457200" indent="-457200" algn="l">
              <a:buFont typeface="Arial" panose="020B0604020202020204" pitchFamily="34" charset="0"/>
              <a:buChar char="•"/>
            </a:pPr>
            <a:r>
              <a:rPr lang="en-US" sz="2800" dirty="0" smtClean="0"/>
              <a:t>Age – very young and old</a:t>
            </a:r>
          </a:p>
          <a:p>
            <a:pPr marL="457200" indent="-457200" algn="l">
              <a:buFont typeface="Arial" panose="020B0604020202020204" pitchFamily="34" charset="0"/>
              <a:buChar char="•"/>
            </a:pPr>
            <a:r>
              <a:rPr lang="en-US" sz="2800" dirty="0" smtClean="0"/>
              <a:t>Exertion</a:t>
            </a:r>
          </a:p>
          <a:p>
            <a:pPr marL="457200" indent="-457200" algn="l">
              <a:buFont typeface="Arial" panose="020B0604020202020204" pitchFamily="34" charset="0"/>
              <a:buChar char="•"/>
            </a:pPr>
            <a:r>
              <a:rPr lang="en-US" sz="2800" dirty="0" smtClean="0"/>
              <a:t>Sudden Heat Exposure </a:t>
            </a:r>
          </a:p>
          <a:p>
            <a:pPr marL="457200" indent="-457200" algn="l">
              <a:buFont typeface="Arial" panose="020B0604020202020204" pitchFamily="34" charset="0"/>
              <a:buChar char="•"/>
            </a:pPr>
            <a:r>
              <a:rPr lang="en-US" sz="2800" dirty="0" smtClean="0"/>
              <a:t>No Air Conditioning</a:t>
            </a:r>
          </a:p>
          <a:p>
            <a:pPr marL="457200" indent="-457200" algn="l">
              <a:buFont typeface="Arial" panose="020B0604020202020204" pitchFamily="34" charset="0"/>
              <a:buChar char="•"/>
            </a:pPr>
            <a:r>
              <a:rPr lang="en-US" sz="2800" dirty="0" smtClean="0"/>
              <a:t>Some Medications</a:t>
            </a:r>
          </a:p>
          <a:p>
            <a:pPr marL="457200" indent="-457200" algn="l">
              <a:buFont typeface="Arial" panose="020B0604020202020204" pitchFamily="34" charset="0"/>
              <a:buChar char="•"/>
            </a:pPr>
            <a:r>
              <a:rPr lang="en-US" sz="2800" dirty="0" smtClean="0"/>
              <a:t>Some Health Conditions</a:t>
            </a:r>
            <a:endParaRPr lang="en-US" sz="2800" dirty="0"/>
          </a:p>
        </p:txBody>
      </p:sp>
      <p:sp>
        <p:nvSpPr>
          <p:cNvPr id="9" name="Rectangle 8"/>
          <p:cNvSpPr/>
          <p:nvPr/>
        </p:nvSpPr>
        <p:spPr>
          <a:xfrm>
            <a:off x="327259" y="2184935"/>
            <a:ext cx="5046996" cy="3311090"/>
          </a:xfrm>
          <a:prstGeom prst="rect">
            <a:avLst/>
          </a:prstGeom>
          <a:ln w="50800">
            <a:solidFill>
              <a:srgbClr val="9A1C1F"/>
            </a:solid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n-US" dirty="0" smtClean="0"/>
          </a:p>
        </p:txBody>
      </p:sp>
    </p:spTree>
    <p:extLst>
      <p:ext uri="{BB962C8B-B14F-4D97-AF65-F5344CB8AC3E}">
        <p14:creationId xmlns:p14="http://schemas.microsoft.com/office/powerpoint/2010/main" val="199293053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dirty="0"/>
          </a:p>
        </p:txBody>
      </p:sp>
      <p:sp>
        <p:nvSpPr>
          <p:cNvPr id="4" name="Title 3"/>
          <p:cNvSpPr>
            <a:spLocks noGrp="1"/>
          </p:cNvSpPr>
          <p:nvPr>
            <p:ph type="title"/>
          </p:nvPr>
        </p:nvSpPr>
        <p:spPr/>
        <p:txBody>
          <a:bodyPr/>
          <a:lstStyle/>
          <a:p>
            <a:r>
              <a:rPr lang="en-US" dirty="0" smtClean="0"/>
              <a:t>At Risk Groups &amp; Activities</a:t>
            </a:r>
            <a:endParaRPr lang="en-US" dirty="0"/>
          </a:p>
        </p:txBody>
      </p:sp>
      <p:sp>
        <p:nvSpPr>
          <p:cNvPr id="5" name="Text Placeholder 4"/>
          <p:cNvSpPr>
            <a:spLocks noGrp="1"/>
          </p:cNvSpPr>
          <p:nvPr>
            <p:ph type="body" sz="half" idx="2"/>
          </p:nvPr>
        </p:nvSpPr>
        <p:spPr/>
        <p:txBody>
          <a:bodyPr/>
          <a:lstStyle/>
          <a:p>
            <a:endParaRPr lang="en-US" dirty="0"/>
          </a:p>
        </p:txBody>
      </p:sp>
      <p:graphicFrame>
        <p:nvGraphicFramePr>
          <p:cNvPr id="6" name="Diagram 5"/>
          <p:cNvGraphicFramePr/>
          <p:nvPr>
            <p:extLst>
              <p:ext uri="{D42A27DB-BD31-4B8C-83A1-F6EECF244321}">
                <p14:modId xmlns:p14="http://schemas.microsoft.com/office/powerpoint/2010/main" val="4202215203"/>
              </p:ext>
            </p:extLst>
          </p:nvPr>
        </p:nvGraphicFramePr>
        <p:xfrm>
          <a:off x="648586" y="1576489"/>
          <a:ext cx="10578214" cy="478417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1094621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0296" name="Picture 8" descr="What are the heat exhaustion and heatstroke symptoms? - BBC New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3020" y="1026605"/>
            <a:ext cx="8345070" cy="4694103"/>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7137417" y="2456555"/>
            <a:ext cx="4071487" cy="3046988"/>
          </a:xfrm>
          <a:prstGeom prst="rect">
            <a:avLst/>
          </a:prstGeom>
          <a:noFill/>
        </p:spPr>
        <p:txBody>
          <a:bodyPr wrap="square" lIns="0" tIns="0" rIns="0" bIns="0" rtlCol="0">
            <a:spAutoFit/>
          </a:bodyPr>
          <a:lstStyle/>
          <a:p>
            <a:pPr algn="ctr"/>
            <a:r>
              <a:rPr lang="en-US" sz="6600" dirty="0" smtClean="0">
                <a:latin typeface="Bahnschrift Condensed" panose="020B0502040204020203" pitchFamily="34" charset="0"/>
              </a:rPr>
              <a:t>Who’s at risk on your campus?</a:t>
            </a:r>
            <a:endParaRPr lang="en-US" sz="6600" dirty="0">
              <a:latin typeface="Bahnschrift Condensed" panose="020B0502040204020203" pitchFamily="34" charset="0"/>
            </a:endParaRPr>
          </a:p>
        </p:txBody>
      </p:sp>
    </p:spTree>
    <p:extLst>
      <p:ext uri="{BB962C8B-B14F-4D97-AF65-F5344CB8AC3E}">
        <p14:creationId xmlns:p14="http://schemas.microsoft.com/office/powerpoint/2010/main" val="387008281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rsh">
  <a:themeElements>
    <a:clrScheme name="Custom 17">
      <a:dk1>
        <a:srgbClr val="202020"/>
      </a:dk1>
      <a:lt1>
        <a:srgbClr val="FFFFFF"/>
      </a:lt1>
      <a:dk2>
        <a:srgbClr val="002C77"/>
      </a:dk2>
      <a:lt2>
        <a:srgbClr val="565656"/>
      </a:lt2>
      <a:accent1>
        <a:srgbClr val="002C77"/>
      </a:accent1>
      <a:accent2>
        <a:srgbClr val="009DE0"/>
      </a:accent2>
      <a:accent3>
        <a:srgbClr val="76D3FF"/>
      </a:accent3>
      <a:accent4>
        <a:srgbClr val="0077A0"/>
      </a:accent4>
      <a:accent5>
        <a:srgbClr val="00968F"/>
      </a:accent5>
      <a:accent6>
        <a:srgbClr val="00AC41"/>
      </a:accent6>
      <a:hlink>
        <a:srgbClr val="2C6EF2"/>
      </a:hlink>
      <a:folHlink>
        <a:srgbClr val="8246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lgn="ctr">
          <a:defRPr dirty="0" smtClean="0"/>
        </a:defPPr>
      </a:lst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defRPr dirty="0" err="1"/>
        </a:defPPr>
      </a:lstStyle>
    </a:txDef>
  </a:objectDefaults>
  <a:extraClrSchemeLst/>
  <a:custClrLst>
    <a:custClr name="Dark blue">
      <a:srgbClr val="002C77"/>
    </a:custClr>
    <a:custClr name="Blue">
      <a:srgbClr val="009DE0"/>
    </a:custClr>
    <a:custClr name="Light blue">
      <a:srgbClr val="76D3FF"/>
    </a:custClr>
    <a:custClr name="Dark teal">
      <a:srgbClr val="004C6C"/>
    </a:custClr>
    <a:custClr name="Teal">
      <a:srgbClr val="0077A0"/>
    </a:custClr>
    <a:custClr name="Light teal">
      <a:srgbClr val="9CD9E4"/>
    </a:custClr>
    <a:custClr name="Dark turquoise">
      <a:srgbClr val="005E5D"/>
    </a:custClr>
    <a:custClr name="Turquoise">
      <a:srgbClr val="00968F"/>
    </a:custClr>
    <a:custClr name="Light turquoise">
      <a:srgbClr val="98DBCE"/>
    </a:custClr>
    <a:custClr name="White">
      <a:srgbClr val="FFFFFF"/>
    </a:custClr>
    <a:custClr name="Dark green">
      <a:srgbClr val="275D38"/>
    </a:custClr>
    <a:custClr name="Green">
      <a:srgbClr val="00AC41"/>
    </a:custClr>
    <a:custClr name="Light green">
      <a:srgbClr val="ADDFB3"/>
    </a:custClr>
    <a:custClr name="Dark purple">
      <a:srgbClr val="463282"/>
    </a:custClr>
    <a:custClr name="Purple">
      <a:srgbClr val="8246AF"/>
    </a:custClr>
    <a:custClr name="Light purple">
      <a:srgbClr val="CCB3E0"/>
    </a:custClr>
    <a:custClr name="Dark pink">
      <a:srgbClr val="B2025B"/>
    </a:custClr>
    <a:custClr name="Pink">
      <a:srgbClr val="EE3D8B"/>
    </a:custClr>
    <a:custClr name="Light pink">
      <a:srgbClr val="F8ACBE"/>
    </a:custClr>
    <a:custClr name="White">
      <a:srgbClr val="FFFFFF"/>
    </a:custClr>
    <a:custClr name="Dark crimson">
      <a:srgbClr val="9A1C1F"/>
    </a:custClr>
    <a:custClr name="Crimson">
      <a:srgbClr val="EF4E45"/>
    </a:custClr>
    <a:custClr name="Light crimson">
      <a:srgbClr val="FFAEA6"/>
    </a:custClr>
    <a:custClr name="Dark orange">
      <a:srgbClr val="A32E00"/>
    </a:custClr>
    <a:custClr name="Orange">
      <a:srgbClr val="FF8C00"/>
    </a:custClr>
    <a:custClr name="Light orange">
      <a:srgbClr val="FFCA94"/>
    </a:custClr>
    <a:custClr name="Dark yellow">
      <a:srgbClr val="965D00"/>
    </a:custClr>
    <a:custClr name="Yellow">
      <a:srgbClr val="FFBE00"/>
    </a:custClr>
    <a:custClr name="Light yellow">
      <a:srgbClr val="FFE580"/>
    </a:custClr>
    <a:custClr name="White">
      <a:srgbClr val="FFFFFF"/>
    </a:custClr>
    <a:custClr name="Dark blue gray">
      <a:srgbClr val="4E6287"/>
    </a:custClr>
    <a:custClr name="Blue gray">
      <a:srgbClr val="8096B2"/>
    </a:custClr>
    <a:custClr name="Light blue gray">
      <a:srgbClr val="BED3E4"/>
    </a:custClr>
    <a:custClr name="Dark gray">
      <a:srgbClr val="565656"/>
    </a:custClr>
    <a:custClr name="Gray">
      <a:srgbClr val="949494"/>
    </a:custClr>
    <a:custClr name="Light gray">
      <a:srgbClr val="DADADA"/>
    </a:custClr>
    <a:custClr name="Background gray">
      <a:srgbClr val="F0F0F0"/>
    </a:custClr>
    <a:custClr name="Link blue">
      <a:srgbClr val="2C6EF2"/>
    </a:custClr>
    <a:custClr name="Warning red">
      <a:srgbClr val="C53532"/>
    </a:custClr>
    <a:custClr name="Success green">
      <a:srgbClr val="14853D"/>
    </a:custClr>
  </a:custClrLst>
  <a:extLst>
    <a:ext uri="{05A4C25C-085E-4340-85A3-A5531E510DB2}">
      <thm15:themeFamily xmlns:thm15="http://schemas.microsoft.com/office/thememl/2012/main" name="Marsh PPT Template - Blank.potx" id="{A6B37EA5-77C8-4E8F-8F78-7D4DB800700F}" vid="{11373399-FFAA-4798-BE06-D7939F57DF4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2D7FFD246AAA742AADEC07201DEA6A8" ma:contentTypeVersion="14" ma:contentTypeDescription="Create a new document." ma:contentTypeScope="" ma:versionID="ec1abb5f8ede6981d5a50f1d861c81ea">
  <xsd:schema xmlns:xsd="http://www.w3.org/2001/XMLSchema" xmlns:xs="http://www.w3.org/2001/XMLSchema" xmlns:p="http://schemas.microsoft.com/office/2006/metadata/properties" xmlns:ns3="567c76b1-b8fd-412e-bb4a-a253dc648dc1" xmlns:ns4="fee542f3-4243-40a5-8766-6c46da2e0f8f" targetNamespace="http://schemas.microsoft.com/office/2006/metadata/properties" ma:root="true" ma:fieldsID="5fd3b510eacbae4095c96df910defad7" ns3:_="" ns4:_="">
    <xsd:import namespace="567c76b1-b8fd-412e-bb4a-a253dc648dc1"/>
    <xsd:import namespace="fee542f3-4243-40a5-8766-6c46da2e0f8f"/>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ServiceAutoTags" minOccurs="0"/>
                <xsd:element ref="ns4:MediaLengthInSeconds" minOccurs="0"/>
                <xsd:element ref="ns4:MediaServiceGenerationTime" minOccurs="0"/>
                <xsd:element ref="ns4:MediaServiceEventHashCode" minOccurs="0"/>
                <xsd:element ref="ns4:MediaServiceOCR"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67c76b1-b8fd-412e-bb4a-a253dc648dc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e542f3-4243-40a5-8766-6c46da2e0f8f"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B03CB78-48CF-4F1A-BF4E-73645128E31D}">
  <ds:schemaRefs>
    <ds:schemaRef ds:uri="http://schemas.microsoft.com/sharepoint/v3/contenttype/forms"/>
  </ds:schemaRefs>
</ds:datastoreItem>
</file>

<file path=customXml/itemProps2.xml><?xml version="1.0" encoding="utf-8"?>
<ds:datastoreItem xmlns:ds="http://schemas.openxmlformats.org/officeDocument/2006/customXml" ds:itemID="{28C224C1-C087-48A1-8E06-6CA986F94D9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67c76b1-b8fd-412e-bb4a-a253dc648dc1"/>
    <ds:schemaRef ds:uri="fee542f3-4243-40a5-8766-6c46da2e0f8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19EDD4F-F2B4-495A-9ADC-3486CFDA7B7C}">
  <ds:schemaRefs>
    <ds:schemaRef ds:uri="http://purl.org/dc/dcmitype/"/>
    <ds:schemaRef ds:uri="http://schemas.microsoft.com/office/2006/documentManagement/types"/>
    <ds:schemaRef ds:uri="http://purl.org/dc/elements/1.1/"/>
    <ds:schemaRef ds:uri="http://schemas.microsoft.com/office/2006/metadata/properties"/>
    <ds:schemaRef ds:uri="567c76b1-b8fd-412e-bb4a-a253dc648dc1"/>
    <ds:schemaRef ds:uri="http://purl.org/dc/terms/"/>
    <ds:schemaRef ds:uri="http://schemas.openxmlformats.org/package/2006/metadata/core-properties"/>
    <ds:schemaRef ds:uri="http://schemas.microsoft.com/office/infopath/2007/PartnerControls"/>
    <ds:schemaRef ds:uri="fee542f3-4243-40a5-8766-6c46da2e0f8f"/>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arsh Blank PPT Template</Template>
  <TotalTime>33486</TotalTime>
  <Words>2094</Words>
  <Application>Microsoft Office PowerPoint</Application>
  <PresentationFormat>Widescreen</PresentationFormat>
  <Paragraphs>164</Paragraphs>
  <Slides>17</Slides>
  <Notes>11</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34" baseType="lpstr">
      <vt:lpstr>Arial</vt:lpstr>
      <vt:lpstr>Arial Black</vt:lpstr>
      <vt:lpstr>Arial Narrow</vt:lpstr>
      <vt:lpstr>Bahnschrift Condensed</vt:lpstr>
      <vt:lpstr>Berlin Sans FB Demi</vt:lpstr>
      <vt:lpstr>Calibri</vt:lpstr>
      <vt:lpstr>Lucida Handwriting</vt:lpstr>
      <vt:lpstr>Modern No. 20</vt:lpstr>
      <vt:lpstr>MV Boli</vt:lpstr>
      <vt:lpstr>Open Sans</vt:lpstr>
      <vt:lpstr>Poor Richard</vt:lpstr>
      <vt:lpstr>Stencil</vt:lpstr>
      <vt:lpstr>System Font Regular</vt:lpstr>
      <vt:lpstr>Times New Roman</vt:lpstr>
      <vt:lpstr>Wingdings</vt:lpstr>
      <vt:lpstr>Marsh</vt:lpstr>
      <vt:lpstr>think-cell Slide</vt:lpstr>
      <vt:lpstr>Heat Exposure on Campus</vt:lpstr>
      <vt:lpstr>Michigan is Heating Up</vt:lpstr>
      <vt:lpstr>Today’s Discussion</vt:lpstr>
      <vt:lpstr>Heat Related Higher Ed Cases</vt:lpstr>
      <vt:lpstr>Using the Heat Index - How Hot is Too Hot?</vt:lpstr>
      <vt:lpstr>Wet Bulb Globe Thermometer</vt:lpstr>
      <vt:lpstr>Heat Exposure Basics to Know</vt:lpstr>
      <vt:lpstr>At Risk Groups &amp; Activities</vt:lpstr>
      <vt:lpstr>PowerPoint Presentation</vt:lpstr>
      <vt:lpstr>Preparation</vt:lpstr>
      <vt:lpstr>Education Points</vt:lpstr>
      <vt:lpstr>Prep Questions to Ask</vt:lpstr>
      <vt:lpstr>Education</vt:lpstr>
      <vt:lpstr>PowerPoint Presentation</vt:lpstr>
      <vt:lpstr>Resources</vt:lpstr>
      <vt:lpstr>PowerPoint Presentation</vt:lpstr>
      <vt:lpstr>PowerPoint Presentation</vt:lpstr>
    </vt:vector>
  </TitlesOfParts>
  <Company>MM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llack, Scott C</dc:creator>
  <cp:lastModifiedBy>Smail, Cindy</cp:lastModifiedBy>
  <cp:revision>219</cp:revision>
  <dcterms:created xsi:type="dcterms:W3CDTF">2021-05-20T20:41:56Z</dcterms:created>
  <dcterms:modified xsi:type="dcterms:W3CDTF">2024-01-19T14:10: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D7FFD246AAA742AADEC07201DEA6A8</vt:lpwstr>
  </property>
  <property fmtid="{D5CDD505-2E9C-101B-9397-08002B2CF9AE}" pid="3" name="MSIP_Label_38f1469a-2c2a-4aee-b92b-090d4c5468ff_Enabled">
    <vt:lpwstr>true</vt:lpwstr>
  </property>
  <property fmtid="{D5CDD505-2E9C-101B-9397-08002B2CF9AE}" pid="4" name="MSIP_Label_38f1469a-2c2a-4aee-b92b-090d4c5468ff_SetDate">
    <vt:lpwstr>2021-12-09T01:21:12Z</vt:lpwstr>
  </property>
  <property fmtid="{D5CDD505-2E9C-101B-9397-08002B2CF9AE}" pid="5" name="MSIP_Label_38f1469a-2c2a-4aee-b92b-090d4c5468ff_Method">
    <vt:lpwstr>Standard</vt:lpwstr>
  </property>
  <property fmtid="{D5CDD505-2E9C-101B-9397-08002B2CF9AE}" pid="6" name="MSIP_Label_38f1469a-2c2a-4aee-b92b-090d4c5468ff_Name">
    <vt:lpwstr>Confidential - Unmarked</vt:lpwstr>
  </property>
  <property fmtid="{D5CDD505-2E9C-101B-9397-08002B2CF9AE}" pid="7" name="MSIP_Label_38f1469a-2c2a-4aee-b92b-090d4c5468ff_SiteId">
    <vt:lpwstr>2a6e6092-73e4-4752-b1a5-477a17f5056d</vt:lpwstr>
  </property>
  <property fmtid="{D5CDD505-2E9C-101B-9397-08002B2CF9AE}" pid="8" name="MSIP_Label_38f1469a-2c2a-4aee-b92b-090d4c5468ff_ActionId">
    <vt:lpwstr>8867d980-3772-46ac-ac07-447147c74bdc</vt:lpwstr>
  </property>
  <property fmtid="{D5CDD505-2E9C-101B-9397-08002B2CF9AE}" pid="9" name="MSIP_Label_38f1469a-2c2a-4aee-b92b-090d4c5468ff_ContentBits">
    <vt:lpwstr>0</vt:lpwstr>
  </property>
</Properties>
</file>